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slides/slide24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62.xml" ContentType="application/vnd.openxmlformats-officedocument.presentationml.tags+xml"/>
  <Override PartName="/ppt/tags/tag280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278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notesSlides/notesSlide5.xml" ContentType="application/vnd.openxmlformats-officedocument.presentationml.notesSlide+xml"/>
  <Override PartName="/ppt/tags/tag277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7"/>
  </p:notesMasterIdLst>
  <p:handoutMasterIdLst>
    <p:handoutMasterId r:id="rId28"/>
  </p:handoutMasterIdLst>
  <p:sldIdLst>
    <p:sldId id="288" r:id="rId2"/>
    <p:sldId id="256" r:id="rId3"/>
    <p:sldId id="281" r:id="rId4"/>
    <p:sldId id="273" r:id="rId5"/>
    <p:sldId id="289" r:id="rId6"/>
    <p:sldId id="286" r:id="rId7"/>
    <p:sldId id="287" r:id="rId8"/>
    <p:sldId id="290" r:id="rId9"/>
    <p:sldId id="275" r:id="rId10"/>
    <p:sldId id="292" r:id="rId11"/>
    <p:sldId id="293" r:id="rId12"/>
    <p:sldId id="294" r:id="rId13"/>
    <p:sldId id="295" r:id="rId14"/>
    <p:sldId id="296" r:id="rId15"/>
    <p:sldId id="278" r:id="rId16"/>
    <p:sldId id="297" r:id="rId17"/>
    <p:sldId id="298" r:id="rId18"/>
    <p:sldId id="258" r:id="rId19"/>
    <p:sldId id="299" r:id="rId20"/>
    <p:sldId id="262" r:id="rId21"/>
    <p:sldId id="300" r:id="rId22"/>
    <p:sldId id="301" r:id="rId23"/>
    <p:sldId id="302" r:id="rId24"/>
    <p:sldId id="263" r:id="rId25"/>
    <p:sldId id="280" r:id="rId26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cos" initials="M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BDEDE3"/>
    <a:srgbClr val="CBF1E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913" autoAdjust="0"/>
  </p:normalViewPr>
  <p:slideViewPr>
    <p:cSldViewPr snapToGrid="0" snapToObjects="1">
      <p:cViewPr>
        <p:scale>
          <a:sx n="75" d="100"/>
          <a:sy n="75" d="100"/>
        </p:scale>
        <p:origin x="-1014" y="-6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56" d="100"/>
          <a:sy n="56" d="100"/>
        </p:scale>
        <p:origin x="-1812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74FF9-034C-4256-A63B-2DD66DAEBA4E}" type="datetimeFigureOut">
              <a:rPr lang="pt-BR" smtClean="0"/>
              <a:pPr/>
              <a:t>27/3/2012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D667D6-41E7-4F4D-96EE-8D5D20C9256B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12749474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2900C76-A6B4-4BFA-A77C-ED255D904C73}" type="datetimeFigureOut">
              <a:rPr lang="en-US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x-none" noProof="0" smtClean="0"/>
              <a:t>Click to edit Master text styles</a:t>
            </a:r>
          </a:p>
          <a:p>
            <a:pPr lvl="1"/>
            <a:r>
              <a:rPr lang="x-none" noProof="0" smtClean="0"/>
              <a:t>Second level</a:t>
            </a:r>
          </a:p>
          <a:p>
            <a:pPr lvl="2"/>
            <a:r>
              <a:rPr lang="x-none" noProof="0" smtClean="0"/>
              <a:t>Third level</a:t>
            </a:r>
          </a:p>
          <a:p>
            <a:pPr lvl="3"/>
            <a:r>
              <a:rPr lang="x-none" noProof="0" smtClean="0"/>
              <a:t>Fourth level</a:t>
            </a:r>
          </a:p>
          <a:p>
            <a:pPr lvl="4"/>
            <a:r>
              <a:rPr lang="x-none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40E7928-0260-4436-B50D-562FC89778B8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099344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6E3D5F2-7ABE-467E-9D83-AF1219F5BA3B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dirty="0" smtClean="0"/>
          </a:p>
        </p:txBody>
      </p:sp>
      <p:sp>
        <p:nvSpPr>
          <p:cNvPr id="14339" name="doc id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FBB005-Chart avulso-190811-Bruno Faveri</a:t>
            </a:r>
          </a:p>
        </p:txBody>
      </p:sp>
      <p:sp>
        <p:nvSpPr>
          <p:cNvPr id="143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7213" y="4914900"/>
            <a:ext cx="5843587" cy="115411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1C970E7-B038-4634-A0AD-CF18527A1F5D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dirty="0" smtClean="0"/>
          </a:p>
        </p:txBody>
      </p:sp>
      <p:sp>
        <p:nvSpPr>
          <p:cNvPr id="15363" name="doc id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FBB005-Chart avulso-190811-Bruno Faveri</a:t>
            </a:r>
          </a:p>
        </p:txBody>
      </p:sp>
      <p:sp>
        <p:nvSpPr>
          <p:cNvPr id="153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7213" y="4914900"/>
            <a:ext cx="5843587" cy="115411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1C970E7-B038-4634-A0AD-CF18527A1F5D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US" dirty="0" smtClean="0"/>
          </a:p>
        </p:txBody>
      </p:sp>
      <p:sp>
        <p:nvSpPr>
          <p:cNvPr id="15363" name="doc id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FBB005-Chart avulso-190811-Bruno Faveri</a:t>
            </a:r>
          </a:p>
        </p:txBody>
      </p:sp>
      <p:sp>
        <p:nvSpPr>
          <p:cNvPr id="153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7213" y="4914900"/>
            <a:ext cx="5843587" cy="115411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DC3F08E-8317-4ED6-A795-D76F4E1F94E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dirty="0" smtClean="0"/>
          </a:p>
        </p:txBody>
      </p:sp>
      <p:sp>
        <p:nvSpPr>
          <p:cNvPr id="16387" name="doc id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FBB005-Chart avulso-190811-Bruno Faveri</a:t>
            </a: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49300" y="571500"/>
            <a:ext cx="5368925" cy="40259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7213" y="4914900"/>
            <a:ext cx="5843587" cy="23336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8BF8F77-1757-4395-980F-BC961BA66B47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 dirty="0" smtClean="0"/>
          </a:p>
        </p:txBody>
      </p:sp>
      <p:sp>
        <p:nvSpPr>
          <p:cNvPr id="17411" name="doc id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FBB005-Chart avulso-190811-Bruno Faveri</a:t>
            </a:r>
          </a:p>
        </p:txBody>
      </p:sp>
      <p:sp>
        <p:nvSpPr>
          <p:cNvPr id="1741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49300" y="571500"/>
            <a:ext cx="5368925" cy="40259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7213" y="4914900"/>
            <a:ext cx="5843587" cy="23971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8BF8F77-1757-4395-980F-BC961BA66B47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 dirty="0" smtClean="0"/>
          </a:p>
        </p:txBody>
      </p:sp>
      <p:sp>
        <p:nvSpPr>
          <p:cNvPr id="17411" name="doc id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FBB005-Chart avulso-190811-Bruno Faveri</a:t>
            </a:r>
          </a:p>
        </p:txBody>
      </p:sp>
      <p:sp>
        <p:nvSpPr>
          <p:cNvPr id="1741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49300" y="571500"/>
            <a:ext cx="5368925" cy="40259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7213" y="4914900"/>
            <a:ext cx="5843587" cy="23971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8BF8F77-1757-4395-980F-BC961BA66B47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dirty="0" smtClean="0"/>
          </a:p>
        </p:txBody>
      </p:sp>
      <p:sp>
        <p:nvSpPr>
          <p:cNvPr id="17411" name="doc id"/>
          <p:cNvSpPr>
            <a:spLocks noGrp="1" noChangeArrowheads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FBB005-Chart avulso-190811-Bruno Faveri</a:t>
            </a:r>
          </a:p>
        </p:txBody>
      </p:sp>
      <p:sp>
        <p:nvSpPr>
          <p:cNvPr id="1741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49300" y="571500"/>
            <a:ext cx="5368925" cy="40259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7213" y="4914900"/>
            <a:ext cx="5843587" cy="23971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 dirty="0" smtClean="0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cs typeface="+mn-cs"/>
              </a:defRPr>
            </a:lvl1pPr>
          </a:lstStyle>
          <a:p>
            <a:pPr>
              <a:defRPr/>
            </a:pPr>
            <a:fld id="{3DD4D194-A42A-4B8A-A31D-B73C4D0FDDDD}" type="datetimeFigureOut">
              <a:rPr lang="en-US" smtClean="0"/>
              <a:pPr>
                <a:defRPr/>
              </a:pPr>
              <a:t>3/27/2012</a:t>
            </a:fld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E124F8D9-BAF6-44E1-A97C-4A274460E0B8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031" name="Imagem 7" descr="fundo_mascara.jp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tags" Target="../tags/tag118.xml"/><Relationship Id="rId3" Type="http://schemas.openxmlformats.org/officeDocument/2006/relationships/tags" Target="../tags/tag95.xml"/><Relationship Id="rId21" Type="http://schemas.openxmlformats.org/officeDocument/2006/relationships/tags" Target="../tags/tag113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33" Type="http://schemas.openxmlformats.org/officeDocument/2006/relationships/image" Target="../media/image9.png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29" Type="http://schemas.openxmlformats.org/officeDocument/2006/relationships/image" Target="../media/image14.jpeg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32" Type="http://schemas.openxmlformats.org/officeDocument/2006/relationships/image" Target="../media/image15.jpeg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31" Type="http://schemas.openxmlformats.org/officeDocument/2006/relationships/image" Target="../media/image7.jpeg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tags" Target="../tags/tag119.xml"/><Relationship Id="rId30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" Type="http://schemas.openxmlformats.org/officeDocument/2006/relationships/tags" Target="../tags/tag122.xml"/><Relationship Id="rId21" Type="http://schemas.openxmlformats.org/officeDocument/2006/relationships/tags" Target="../tags/tag140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image" Target="../media/image9.png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29" Type="http://schemas.openxmlformats.org/officeDocument/2006/relationships/image" Target="../media/image14.jpeg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32" Type="http://schemas.openxmlformats.org/officeDocument/2006/relationships/image" Target="../media/image15.jpeg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31" Type="http://schemas.openxmlformats.org/officeDocument/2006/relationships/image" Target="../media/image7.jpeg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tags" Target="../tags/tag146.xml"/><Relationship Id="rId30" Type="http://schemas.openxmlformats.org/officeDocument/2006/relationships/image" Target="../media/image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" Type="http://schemas.openxmlformats.org/officeDocument/2006/relationships/tags" Target="../tags/tag149.xml"/><Relationship Id="rId21" Type="http://schemas.openxmlformats.org/officeDocument/2006/relationships/tags" Target="../tags/tag167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33" Type="http://schemas.openxmlformats.org/officeDocument/2006/relationships/image" Target="../media/image9.png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29" Type="http://schemas.openxmlformats.org/officeDocument/2006/relationships/image" Target="../media/image14.jpeg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32" Type="http://schemas.openxmlformats.org/officeDocument/2006/relationships/image" Target="../media/image15.jpeg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156.xml"/><Relationship Id="rId19" Type="http://schemas.openxmlformats.org/officeDocument/2006/relationships/tags" Target="../tags/tag165.xml"/><Relationship Id="rId31" Type="http://schemas.openxmlformats.org/officeDocument/2006/relationships/image" Target="../media/image7.jpeg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Relationship Id="rId30" Type="http://schemas.openxmlformats.org/officeDocument/2006/relationships/image" Target="../media/image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tags" Target="../tags/tag186.xml"/><Relationship Id="rId18" Type="http://schemas.openxmlformats.org/officeDocument/2006/relationships/tags" Target="../tags/tag191.xml"/><Relationship Id="rId26" Type="http://schemas.openxmlformats.org/officeDocument/2006/relationships/tags" Target="../tags/tag199.xml"/><Relationship Id="rId3" Type="http://schemas.openxmlformats.org/officeDocument/2006/relationships/tags" Target="../tags/tag176.xml"/><Relationship Id="rId21" Type="http://schemas.openxmlformats.org/officeDocument/2006/relationships/tags" Target="../tags/tag194.xml"/><Relationship Id="rId7" Type="http://schemas.openxmlformats.org/officeDocument/2006/relationships/tags" Target="../tags/tag180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5" Type="http://schemas.openxmlformats.org/officeDocument/2006/relationships/tags" Target="../tags/tag198.xml"/><Relationship Id="rId33" Type="http://schemas.openxmlformats.org/officeDocument/2006/relationships/image" Target="../media/image9.png"/><Relationship Id="rId2" Type="http://schemas.openxmlformats.org/officeDocument/2006/relationships/tags" Target="../tags/tag175.xml"/><Relationship Id="rId16" Type="http://schemas.openxmlformats.org/officeDocument/2006/relationships/tags" Target="../tags/tag189.xml"/><Relationship Id="rId20" Type="http://schemas.openxmlformats.org/officeDocument/2006/relationships/tags" Target="../tags/tag193.xml"/><Relationship Id="rId29" Type="http://schemas.openxmlformats.org/officeDocument/2006/relationships/image" Target="../media/image14.jpeg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24" Type="http://schemas.openxmlformats.org/officeDocument/2006/relationships/tags" Target="../tags/tag197.xml"/><Relationship Id="rId32" Type="http://schemas.openxmlformats.org/officeDocument/2006/relationships/image" Target="../media/image15.jpeg"/><Relationship Id="rId5" Type="http://schemas.openxmlformats.org/officeDocument/2006/relationships/tags" Target="../tags/tag178.xml"/><Relationship Id="rId15" Type="http://schemas.openxmlformats.org/officeDocument/2006/relationships/tags" Target="../tags/tag188.xml"/><Relationship Id="rId23" Type="http://schemas.openxmlformats.org/officeDocument/2006/relationships/tags" Target="../tags/tag196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183.xml"/><Relationship Id="rId19" Type="http://schemas.openxmlformats.org/officeDocument/2006/relationships/tags" Target="../tags/tag192.xml"/><Relationship Id="rId31" Type="http://schemas.openxmlformats.org/officeDocument/2006/relationships/image" Target="../media/image7.jpeg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tags" Target="../tags/tag187.xml"/><Relationship Id="rId22" Type="http://schemas.openxmlformats.org/officeDocument/2006/relationships/tags" Target="../tags/tag195.xml"/><Relationship Id="rId27" Type="http://schemas.openxmlformats.org/officeDocument/2006/relationships/tags" Target="../tags/tag200.xml"/><Relationship Id="rId30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26" Type="http://schemas.openxmlformats.org/officeDocument/2006/relationships/tags" Target="../tags/tag226.xml"/><Relationship Id="rId3" Type="http://schemas.openxmlformats.org/officeDocument/2006/relationships/tags" Target="../tags/tag203.xml"/><Relationship Id="rId21" Type="http://schemas.openxmlformats.org/officeDocument/2006/relationships/tags" Target="../tags/tag221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tags" Target="../tags/tag217.xml"/><Relationship Id="rId25" Type="http://schemas.openxmlformats.org/officeDocument/2006/relationships/tags" Target="../tags/tag225.xml"/><Relationship Id="rId33" Type="http://schemas.openxmlformats.org/officeDocument/2006/relationships/image" Target="../media/image9.png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0" Type="http://schemas.openxmlformats.org/officeDocument/2006/relationships/tags" Target="../tags/tag220.xml"/><Relationship Id="rId29" Type="http://schemas.openxmlformats.org/officeDocument/2006/relationships/image" Target="../media/image14.jpeg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24" Type="http://schemas.openxmlformats.org/officeDocument/2006/relationships/tags" Target="../tags/tag224.xml"/><Relationship Id="rId32" Type="http://schemas.openxmlformats.org/officeDocument/2006/relationships/image" Target="../media/image15.jpeg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23" Type="http://schemas.openxmlformats.org/officeDocument/2006/relationships/tags" Target="../tags/tag223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210.xml"/><Relationship Id="rId19" Type="http://schemas.openxmlformats.org/officeDocument/2006/relationships/tags" Target="../tags/tag219.xml"/><Relationship Id="rId31" Type="http://schemas.openxmlformats.org/officeDocument/2006/relationships/image" Target="../media/image7.jpeg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Relationship Id="rId22" Type="http://schemas.openxmlformats.org/officeDocument/2006/relationships/tags" Target="../tags/tag222.xml"/><Relationship Id="rId27" Type="http://schemas.openxmlformats.org/officeDocument/2006/relationships/tags" Target="../tags/tag227.xml"/><Relationship Id="rId30" Type="http://schemas.openxmlformats.org/officeDocument/2006/relationships/image" Target="../media/image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13" Type="http://schemas.openxmlformats.org/officeDocument/2006/relationships/tags" Target="../tags/tag240.xml"/><Relationship Id="rId18" Type="http://schemas.openxmlformats.org/officeDocument/2006/relationships/tags" Target="../tags/tag245.xml"/><Relationship Id="rId26" Type="http://schemas.openxmlformats.org/officeDocument/2006/relationships/tags" Target="../tags/tag253.xml"/><Relationship Id="rId3" Type="http://schemas.openxmlformats.org/officeDocument/2006/relationships/tags" Target="../tags/tag230.xml"/><Relationship Id="rId21" Type="http://schemas.openxmlformats.org/officeDocument/2006/relationships/tags" Target="../tags/tag248.xml"/><Relationship Id="rId34" Type="http://schemas.openxmlformats.org/officeDocument/2006/relationships/image" Target="../media/image7.jpeg"/><Relationship Id="rId7" Type="http://schemas.openxmlformats.org/officeDocument/2006/relationships/tags" Target="../tags/tag234.xml"/><Relationship Id="rId12" Type="http://schemas.openxmlformats.org/officeDocument/2006/relationships/tags" Target="../tags/tag239.xml"/><Relationship Id="rId17" Type="http://schemas.openxmlformats.org/officeDocument/2006/relationships/tags" Target="../tags/tag244.xml"/><Relationship Id="rId25" Type="http://schemas.openxmlformats.org/officeDocument/2006/relationships/tags" Target="../tags/tag252.xml"/><Relationship Id="rId33" Type="http://schemas.openxmlformats.org/officeDocument/2006/relationships/image" Target="../media/image6.jpeg"/><Relationship Id="rId2" Type="http://schemas.openxmlformats.org/officeDocument/2006/relationships/tags" Target="../tags/tag229.xml"/><Relationship Id="rId16" Type="http://schemas.openxmlformats.org/officeDocument/2006/relationships/tags" Target="../tags/tag243.xml"/><Relationship Id="rId20" Type="http://schemas.openxmlformats.org/officeDocument/2006/relationships/tags" Target="../tags/tag247.xml"/><Relationship Id="rId29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6" Type="http://schemas.openxmlformats.org/officeDocument/2006/relationships/tags" Target="../tags/tag233.xml"/><Relationship Id="rId11" Type="http://schemas.openxmlformats.org/officeDocument/2006/relationships/tags" Target="../tags/tag238.xml"/><Relationship Id="rId24" Type="http://schemas.openxmlformats.org/officeDocument/2006/relationships/tags" Target="../tags/tag251.xml"/><Relationship Id="rId32" Type="http://schemas.openxmlformats.org/officeDocument/2006/relationships/image" Target="../media/image16.jpeg"/><Relationship Id="rId5" Type="http://schemas.openxmlformats.org/officeDocument/2006/relationships/tags" Target="../tags/tag232.xml"/><Relationship Id="rId15" Type="http://schemas.openxmlformats.org/officeDocument/2006/relationships/tags" Target="../tags/tag242.xml"/><Relationship Id="rId23" Type="http://schemas.openxmlformats.org/officeDocument/2006/relationships/tags" Target="../tags/tag250.xml"/><Relationship Id="rId28" Type="http://schemas.openxmlformats.org/officeDocument/2006/relationships/tags" Target="../tags/tag255.xml"/><Relationship Id="rId36" Type="http://schemas.openxmlformats.org/officeDocument/2006/relationships/image" Target="../media/image9.png"/><Relationship Id="rId10" Type="http://schemas.openxmlformats.org/officeDocument/2006/relationships/tags" Target="../tags/tag237.xml"/><Relationship Id="rId19" Type="http://schemas.openxmlformats.org/officeDocument/2006/relationships/tags" Target="../tags/tag246.xml"/><Relationship Id="rId31" Type="http://schemas.openxmlformats.org/officeDocument/2006/relationships/oleObject" Target="../embeddings/oleObject5.bin"/><Relationship Id="rId4" Type="http://schemas.openxmlformats.org/officeDocument/2006/relationships/tags" Target="../tags/tag231.xml"/><Relationship Id="rId9" Type="http://schemas.openxmlformats.org/officeDocument/2006/relationships/tags" Target="../tags/tag236.xml"/><Relationship Id="rId14" Type="http://schemas.openxmlformats.org/officeDocument/2006/relationships/tags" Target="../tags/tag241.xml"/><Relationship Id="rId22" Type="http://schemas.openxmlformats.org/officeDocument/2006/relationships/tags" Target="../tags/tag249.xml"/><Relationship Id="rId27" Type="http://schemas.openxmlformats.org/officeDocument/2006/relationships/tags" Target="../tags/tag254.xml"/><Relationship Id="rId30" Type="http://schemas.openxmlformats.org/officeDocument/2006/relationships/notesSlide" Target="../notesSlides/notesSlide6.xml"/><Relationship Id="rId35" Type="http://schemas.openxmlformats.org/officeDocument/2006/relationships/image" Target="../media/image1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tags" Target="../tags/tag267.xml"/><Relationship Id="rId18" Type="http://schemas.openxmlformats.org/officeDocument/2006/relationships/tags" Target="../tags/tag272.xml"/><Relationship Id="rId26" Type="http://schemas.openxmlformats.org/officeDocument/2006/relationships/tags" Target="../tags/tag280.xml"/><Relationship Id="rId3" Type="http://schemas.openxmlformats.org/officeDocument/2006/relationships/tags" Target="../tags/tag257.xml"/><Relationship Id="rId21" Type="http://schemas.openxmlformats.org/officeDocument/2006/relationships/tags" Target="../tags/tag275.xml"/><Relationship Id="rId34" Type="http://schemas.openxmlformats.org/officeDocument/2006/relationships/image" Target="../media/image7.jpeg"/><Relationship Id="rId7" Type="http://schemas.openxmlformats.org/officeDocument/2006/relationships/tags" Target="../tags/tag261.xml"/><Relationship Id="rId12" Type="http://schemas.openxmlformats.org/officeDocument/2006/relationships/tags" Target="../tags/tag266.xml"/><Relationship Id="rId17" Type="http://schemas.openxmlformats.org/officeDocument/2006/relationships/tags" Target="../tags/tag271.xml"/><Relationship Id="rId25" Type="http://schemas.openxmlformats.org/officeDocument/2006/relationships/tags" Target="../tags/tag279.xml"/><Relationship Id="rId33" Type="http://schemas.openxmlformats.org/officeDocument/2006/relationships/image" Target="../media/image6.jpeg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20" Type="http://schemas.openxmlformats.org/officeDocument/2006/relationships/tags" Target="../tags/tag274.xml"/><Relationship Id="rId29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6" Type="http://schemas.openxmlformats.org/officeDocument/2006/relationships/tags" Target="../tags/tag260.xml"/><Relationship Id="rId11" Type="http://schemas.openxmlformats.org/officeDocument/2006/relationships/tags" Target="../tags/tag265.xml"/><Relationship Id="rId24" Type="http://schemas.openxmlformats.org/officeDocument/2006/relationships/tags" Target="../tags/tag278.xml"/><Relationship Id="rId32" Type="http://schemas.openxmlformats.org/officeDocument/2006/relationships/image" Target="../media/image16.jpeg"/><Relationship Id="rId5" Type="http://schemas.openxmlformats.org/officeDocument/2006/relationships/tags" Target="../tags/tag259.xml"/><Relationship Id="rId15" Type="http://schemas.openxmlformats.org/officeDocument/2006/relationships/tags" Target="../tags/tag269.xml"/><Relationship Id="rId23" Type="http://schemas.openxmlformats.org/officeDocument/2006/relationships/tags" Target="../tags/tag277.xml"/><Relationship Id="rId28" Type="http://schemas.openxmlformats.org/officeDocument/2006/relationships/tags" Target="../tags/tag282.xml"/><Relationship Id="rId36" Type="http://schemas.openxmlformats.org/officeDocument/2006/relationships/image" Target="../media/image9.png"/><Relationship Id="rId10" Type="http://schemas.openxmlformats.org/officeDocument/2006/relationships/tags" Target="../tags/tag264.xml"/><Relationship Id="rId19" Type="http://schemas.openxmlformats.org/officeDocument/2006/relationships/tags" Target="../tags/tag273.xml"/><Relationship Id="rId31" Type="http://schemas.openxmlformats.org/officeDocument/2006/relationships/oleObject" Target="../embeddings/oleObject6.bin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Relationship Id="rId22" Type="http://schemas.openxmlformats.org/officeDocument/2006/relationships/tags" Target="../tags/tag276.xml"/><Relationship Id="rId27" Type="http://schemas.openxmlformats.org/officeDocument/2006/relationships/tags" Target="../tags/tag281.xml"/><Relationship Id="rId30" Type="http://schemas.openxmlformats.org/officeDocument/2006/relationships/notesSlide" Target="../notesSlides/notesSlide7.xml"/><Relationship Id="rId35" Type="http://schemas.openxmlformats.org/officeDocument/2006/relationships/image" Target="../media/image17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alcosta@fearp.usp.br" TargetMode="External"/><Relationship Id="rId2" Type="http://schemas.openxmlformats.org/officeDocument/2006/relationships/hyperlink" Target="mailto:laraliboni@usp.br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image" Target="../media/image6.jpe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image" Target="../media/image10.jpe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tags" Target="../tags/tag43.xml"/><Relationship Id="rId54" Type="http://schemas.openxmlformats.org/officeDocument/2006/relationships/image" Target="../media/image5.jpe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slideLayout" Target="../slideLayouts/slideLayout6.xml"/><Relationship Id="rId58" Type="http://schemas.openxmlformats.org/officeDocument/2006/relationships/image" Target="../media/image9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image" Target="../media/image8.jpe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image" Target="../media/image11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image" Target="../media/image7.jpeg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9" Type="http://schemas.openxmlformats.org/officeDocument/2006/relationships/image" Target="../media/image6.jpeg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34" Type="http://schemas.openxmlformats.org/officeDocument/2006/relationships/tags" Target="../tags/tag90.xml"/><Relationship Id="rId42" Type="http://schemas.openxmlformats.org/officeDocument/2006/relationships/image" Target="../media/image9.png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tags" Target="../tags/tag89.xml"/><Relationship Id="rId38" Type="http://schemas.openxmlformats.org/officeDocument/2006/relationships/image" Target="../media/image5.jpeg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tags" Target="../tags/tag85.xml"/><Relationship Id="rId41" Type="http://schemas.openxmlformats.org/officeDocument/2006/relationships/image" Target="../media/image8.jpeg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tags" Target="../tags/tag88.xml"/><Relationship Id="rId37" Type="http://schemas.openxmlformats.org/officeDocument/2006/relationships/notesSlide" Target="../notesSlides/notesSlide3.xml"/><Relationship Id="rId40" Type="http://schemas.openxmlformats.org/officeDocument/2006/relationships/image" Target="../media/image7.jpeg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tags" Target="../tags/tag84.xml"/><Relationship Id="rId36" Type="http://schemas.openxmlformats.org/officeDocument/2006/relationships/slideLayout" Target="../slideLayouts/slideLayout6.xml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tags" Target="../tags/tag87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tags" Target="../tags/tag83.xml"/><Relationship Id="rId30" Type="http://schemas.openxmlformats.org/officeDocument/2006/relationships/tags" Target="../tags/tag86.xml"/><Relationship Id="rId35" Type="http://schemas.openxmlformats.org/officeDocument/2006/relationships/tags" Target="../tags/tag9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2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6" descr="logo_redefor_2011_alta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89013" y="2222500"/>
            <a:ext cx="7583487" cy="163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Imagem 5" descr="tira_rede_escfor_see_gov_NOVEMBRO_2011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6600" y="4849813"/>
            <a:ext cx="7935913" cy="129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"/>
          <p:cNvSpPr>
            <a:spLocks noChangeArrowheads="1"/>
          </p:cNvSpPr>
          <p:nvPr/>
        </p:nvSpPr>
        <p:spPr bwMode="auto">
          <a:xfrm>
            <a:off x="3197750" y="1675719"/>
            <a:ext cx="5567930" cy="3939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3200" b="1" dirty="0">
                <a:latin typeface="Tahoma" pitchFamily="34" charset="0"/>
                <a:cs typeface="Tahoma" pitchFamily="34" charset="0"/>
              </a:rPr>
              <a:t>3-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Acelerar os resultados </a:t>
            </a:r>
            <a:r>
              <a:rPr lang="pt-BR" sz="32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pt-BR" sz="32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pt-BR" sz="32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já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conquistados nos Anos Iniciais do Ensino Fundamental, </a:t>
            </a:r>
            <a:r>
              <a:rPr lang="pt-BR" sz="3200" b="1" dirty="0">
                <a:latin typeface="Tahoma" pitchFamily="34" charset="0"/>
                <a:cs typeface="Tahoma" pitchFamily="34" charset="0"/>
              </a:rPr>
              <a:t>com base no aprimoramento e extensão dos instrumentos, ações e capacidade de gestão pedagógica da Secretaria.</a:t>
            </a:r>
          </a:p>
        </p:txBody>
      </p:sp>
      <p:sp>
        <p:nvSpPr>
          <p:cNvPr id="4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1787987" y="3540714"/>
            <a:ext cx="2447925" cy="20955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>
              <a:defRPr/>
            </a:pPr>
            <a:endParaRPr lang="pt-BR" dirty="0">
              <a:cs typeface="+mn-cs"/>
            </a:endParaRPr>
          </a:p>
        </p:txBody>
      </p:sp>
      <p:grpSp>
        <p:nvGrpSpPr>
          <p:cNvPr id="5" name="Group 25"/>
          <p:cNvGrpSpPr>
            <a:grpSpLocks/>
          </p:cNvGrpSpPr>
          <p:nvPr/>
        </p:nvGrpSpPr>
        <p:grpSpPr bwMode="auto">
          <a:xfrm>
            <a:off x="908764" y="2685845"/>
            <a:ext cx="1924050" cy="1919288"/>
            <a:chOff x="1243" y="1854"/>
            <a:chExt cx="1912" cy="1908"/>
          </a:xfrm>
        </p:grpSpPr>
        <p:grpSp>
          <p:nvGrpSpPr>
            <p:cNvPr id="6" name="Group 26"/>
            <p:cNvGrpSpPr>
              <a:grpSpLocks/>
            </p:cNvGrpSpPr>
            <p:nvPr/>
          </p:nvGrpSpPr>
          <p:grpSpPr bwMode="auto">
            <a:xfrm>
              <a:off x="1241" y="1856"/>
              <a:ext cx="1910" cy="1909"/>
              <a:chOff x="1242" y="1510"/>
              <a:chExt cx="1023" cy="1021"/>
            </a:xfrm>
          </p:grpSpPr>
          <p:grpSp>
            <p:nvGrpSpPr>
              <p:cNvPr id="42" name="Group 27"/>
              <p:cNvGrpSpPr>
                <a:grpSpLocks/>
              </p:cNvGrpSpPr>
              <p:nvPr/>
            </p:nvGrpSpPr>
            <p:grpSpPr bwMode="auto">
              <a:xfrm>
                <a:off x="1242" y="1510"/>
                <a:ext cx="1023" cy="1021"/>
                <a:chOff x="1242" y="1510"/>
                <a:chExt cx="1023" cy="1021"/>
              </a:xfrm>
            </p:grpSpPr>
            <p:sp>
              <p:nvSpPr>
                <p:cNvPr id="49" name="Freeform 28"/>
                <p:cNvSpPr>
                  <a:spLocks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1754" y="1510"/>
                  <a:ext cx="484" cy="513"/>
                </a:xfrm>
                <a:custGeom>
                  <a:avLst/>
                  <a:gdLst>
                    <a:gd name="T0" fmla="*/ 759055 w 142"/>
                    <a:gd name="T1" fmla="*/ 563380 h 150"/>
                    <a:gd name="T2" fmla="*/ 0 w 142"/>
                    <a:gd name="T3" fmla="*/ 4644 h 150"/>
                    <a:gd name="T4" fmla="*/ 0 w 142"/>
                    <a:gd name="T5" fmla="*/ 4644 h 150"/>
                    <a:gd name="T6" fmla="*/ 0 w 142"/>
                    <a:gd name="T7" fmla="*/ 820714 h 150"/>
                    <a:gd name="T8" fmla="*/ 759055 w 142"/>
                    <a:gd name="T9" fmla="*/ 563380 h 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2"/>
                    <a:gd name="T16" fmla="*/ 0 h 150"/>
                    <a:gd name="T17" fmla="*/ 142 w 142"/>
                    <a:gd name="T18" fmla="*/ 150 h 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2" h="150">
                      <a:moveTo>
                        <a:pt x="142" y="103"/>
                      </a:moveTo>
                      <a:cubicBezTo>
                        <a:pt x="122" y="42"/>
                        <a:pt x="65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42" y="103"/>
                      </a:lnTo>
                      <a:close/>
                    </a:path>
                  </a:pathLst>
                </a:custGeom>
                <a:solidFill>
                  <a:srgbClr val="FF9900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995C00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0" name="Freeform 29"/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1754" y="1862"/>
                  <a:ext cx="511" cy="573"/>
                </a:xfrm>
                <a:custGeom>
                  <a:avLst/>
                  <a:gdLst>
                    <a:gd name="T0" fmla="*/ 468972 w 150"/>
                    <a:gd name="T1" fmla="*/ 901929 h 168"/>
                    <a:gd name="T2" fmla="*/ 798822 w 150"/>
                    <a:gd name="T3" fmla="*/ 251980 h 168"/>
                    <a:gd name="T4" fmla="*/ 756672 w 150"/>
                    <a:gd name="T5" fmla="*/ 0 h 168"/>
                    <a:gd name="T6" fmla="*/ 0 w 150"/>
                    <a:gd name="T7" fmla="*/ 251980 h 168"/>
                    <a:gd name="T8" fmla="*/ 468972 w 150"/>
                    <a:gd name="T9" fmla="*/ 901929 h 1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8"/>
                    <a:gd name="T17" fmla="*/ 150 w 150"/>
                    <a:gd name="T18" fmla="*/ 168 h 1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8">
                      <a:moveTo>
                        <a:pt x="88" y="168"/>
                      </a:moveTo>
                      <a:cubicBezTo>
                        <a:pt x="127" y="140"/>
                        <a:pt x="150" y="95"/>
                        <a:pt x="150" y="47"/>
                      </a:cubicBezTo>
                      <a:cubicBezTo>
                        <a:pt x="150" y="31"/>
                        <a:pt x="147" y="15"/>
                        <a:pt x="142" y="0"/>
                      </a:cubicBezTo>
                      <a:lnTo>
                        <a:pt x="0" y="47"/>
                      </a:lnTo>
                      <a:lnTo>
                        <a:pt x="88" y="168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1" name="Freeform 30"/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1454" y="2023"/>
                  <a:ext cx="599" cy="508"/>
                </a:xfrm>
                <a:custGeom>
                  <a:avLst/>
                  <a:gdLst>
                    <a:gd name="T0" fmla="*/ 0 w 176"/>
                    <a:gd name="T1" fmla="*/ 642214 h 149"/>
                    <a:gd name="T2" fmla="*/ 466247 w 176"/>
                    <a:gd name="T3" fmla="*/ 797846 h 149"/>
                    <a:gd name="T4" fmla="*/ 931163 w 176"/>
                    <a:gd name="T5" fmla="*/ 648559 h 149"/>
                    <a:gd name="T6" fmla="*/ 466247 w 176"/>
                    <a:gd name="T7" fmla="*/ 0 h 149"/>
                    <a:gd name="T8" fmla="*/ 0 w 176"/>
                    <a:gd name="T9" fmla="*/ 642214 h 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6"/>
                    <a:gd name="T16" fmla="*/ 0 h 149"/>
                    <a:gd name="T17" fmla="*/ 176 w 176"/>
                    <a:gd name="T18" fmla="*/ 149 h 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6" h="149">
                      <a:moveTo>
                        <a:pt x="0" y="120"/>
                      </a:moveTo>
                      <a:cubicBezTo>
                        <a:pt x="25" y="139"/>
                        <a:pt x="56" y="149"/>
                        <a:pt x="88" y="149"/>
                      </a:cubicBezTo>
                      <a:cubicBezTo>
                        <a:pt x="120" y="149"/>
                        <a:pt x="150" y="140"/>
                        <a:pt x="176" y="121"/>
                      </a:cubicBezTo>
                      <a:lnTo>
                        <a:pt x="88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2" name="Freeform 31"/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1242" y="1865"/>
                  <a:ext cx="512" cy="567"/>
                </a:xfrm>
                <a:custGeom>
                  <a:avLst/>
                  <a:gdLst>
                    <a:gd name="T0" fmla="*/ 42629 w 150"/>
                    <a:gd name="T1" fmla="*/ 0 h 166"/>
                    <a:gd name="T2" fmla="*/ 4615 w 150"/>
                    <a:gd name="T3" fmla="*/ 249224 h 166"/>
                    <a:gd name="T4" fmla="*/ 335404 w 150"/>
                    <a:gd name="T5" fmla="*/ 900522 h 166"/>
                    <a:gd name="T6" fmla="*/ 809957 w 150"/>
                    <a:gd name="T7" fmla="*/ 249224 h 166"/>
                    <a:gd name="T8" fmla="*/ 42629 w 150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6"/>
                    <a:gd name="T17" fmla="*/ 150 w 150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6">
                      <a:moveTo>
                        <a:pt x="8" y="0"/>
                      </a:moveTo>
                      <a:cubicBezTo>
                        <a:pt x="3" y="15"/>
                        <a:pt x="1" y="30"/>
                        <a:pt x="1" y="46"/>
                      </a:cubicBezTo>
                      <a:cubicBezTo>
                        <a:pt x="0" y="94"/>
                        <a:pt x="23" y="138"/>
                        <a:pt x="62" y="166"/>
                      </a:cubicBezTo>
                      <a:lnTo>
                        <a:pt x="150" y="4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3" name="Freeform 32"/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1269" y="1513"/>
                  <a:ext cx="485" cy="510"/>
                </a:xfrm>
                <a:custGeom>
                  <a:avLst/>
                  <a:gdLst>
                    <a:gd name="T0" fmla="*/ 770105 w 142"/>
                    <a:gd name="T1" fmla="*/ 0 h 149"/>
                    <a:gd name="T2" fmla="*/ 0 w 142"/>
                    <a:gd name="T3" fmla="*/ 567544 h 149"/>
                    <a:gd name="T4" fmla="*/ 770105 w 142"/>
                    <a:gd name="T5" fmla="*/ 820261 h 149"/>
                    <a:gd name="T6" fmla="*/ 770105 w 142"/>
                    <a:gd name="T7" fmla="*/ 0 h 1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2"/>
                    <a:gd name="T13" fmla="*/ 0 h 149"/>
                    <a:gd name="T14" fmla="*/ 142 w 142"/>
                    <a:gd name="T15" fmla="*/ 149 h 1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2" h="149">
                      <a:moveTo>
                        <a:pt x="142" y="0"/>
                      </a:moveTo>
                      <a:cubicBezTo>
                        <a:pt x="77" y="0"/>
                        <a:pt x="20" y="41"/>
                        <a:pt x="0" y="103"/>
                      </a:cubicBezTo>
                      <a:lnTo>
                        <a:pt x="142" y="14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</p:grpSp>
          <p:sp>
            <p:nvSpPr>
              <p:cNvPr id="43" name="Freeform 33" descr="FOTO 01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324" y="1571"/>
                <a:ext cx="431" cy="461"/>
              </a:xfrm>
              <a:custGeom>
                <a:avLst/>
                <a:gdLst>
                  <a:gd name="T0" fmla="*/ 0 w 1385"/>
                  <a:gd name="T1" fmla="*/ 0 h 1485"/>
                  <a:gd name="T2" fmla="*/ 0 w 1385"/>
                  <a:gd name="T3" fmla="*/ 0 h 1485"/>
                  <a:gd name="T4" fmla="*/ 0 w 1385"/>
                  <a:gd name="T5" fmla="*/ 0 h 1485"/>
                  <a:gd name="T6" fmla="*/ 0 w 1385"/>
                  <a:gd name="T7" fmla="*/ 0 h 1485"/>
                  <a:gd name="T8" fmla="*/ 0 w 1385"/>
                  <a:gd name="T9" fmla="*/ 0 h 1485"/>
                  <a:gd name="T10" fmla="*/ 0 w 1385"/>
                  <a:gd name="T11" fmla="*/ 0 h 1485"/>
                  <a:gd name="T12" fmla="*/ 0 w 1385"/>
                  <a:gd name="T13" fmla="*/ 0 h 1485"/>
                  <a:gd name="T14" fmla="*/ 0 w 1385"/>
                  <a:gd name="T15" fmla="*/ 0 h 1485"/>
                  <a:gd name="T16" fmla="*/ 0 w 1385"/>
                  <a:gd name="T17" fmla="*/ 0 h 1485"/>
                  <a:gd name="T18" fmla="*/ 0 w 1385"/>
                  <a:gd name="T19" fmla="*/ 0 h 1485"/>
                  <a:gd name="T20" fmla="*/ 0 w 1385"/>
                  <a:gd name="T21" fmla="*/ 0 h 1485"/>
                  <a:gd name="T22" fmla="*/ 0 w 1385"/>
                  <a:gd name="T23" fmla="*/ 0 h 1485"/>
                  <a:gd name="T24" fmla="*/ 0 w 1385"/>
                  <a:gd name="T25" fmla="*/ 0 h 1485"/>
                  <a:gd name="T26" fmla="*/ 0 w 1385"/>
                  <a:gd name="T27" fmla="*/ 0 h 1485"/>
                  <a:gd name="T28" fmla="*/ 0 w 1385"/>
                  <a:gd name="T29" fmla="*/ 0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29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4" name="Freeform 34" descr="FOTO 05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271" y="1884"/>
                <a:ext cx="484" cy="507"/>
              </a:xfrm>
              <a:custGeom>
                <a:avLst/>
                <a:gdLst>
                  <a:gd name="T0" fmla="*/ 1 w 1556"/>
                  <a:gd name="T1" fmla="*/ 0 h 1629"/>
                  <a:gd name="T2" fmla="*/ 0 w 1556"/>
                  <a:gd name="T3" fmla="*/ 0 h 1629"/>
                  <a:gd name="T4" fmla="*/ 0 w 1556"/>
                  <a:gd name="T5" fmla="*/ 0 h 1629"/>
                  <a:gd name="T6" fmla="*/ 0 w 1556"/>
                  <a:gd name="T7" fmla="*/ 0 h 1629"/>
                  <a:gd name="T8" fmla="*/ 0 w 1556"/>
                  <a:gd name="T9" fmla="*/ 0 h 1629"/>
                  <a:gd name="T10" fmla="*/ 0 w 1556"/>
                  <a:gd name="T11" fmla="*/ 0 h 1629"/>
                  <a:gd name="T12" fmla="*/ 0 w 1556"/>
                  <a:gd name="T13" fmla="*/ 0 h 1629"/>
                  <a:gd name="T14" fmla="*/ 0 w 1556"/>
                  <a:gd name="T15" fmla="*/ 0 h 1629"/>
                  <a:gd name="T16" fmla="*/ 0 w 1556"/>
                  <a:gd name="T17" fmla="*/ 1 h 1629"/>
                  <a:gd name="T18" fmla="*/ 0 w 1556"/>
                  <a:gd name="T19" fmla="*/ 0 h 1629"/>
                  <a:gd name="T20" fmla="*/ 0 w 1556"/>
                  <a:gd name="T21" fmla="*/ 0 h 1629"/>
                  <a:gd name="T22" fmla="*/ 0 w 1556"/>
                  <a:gd name="T23" fmla="*/ 0 h 1629"/>
                  <a:gd name="T24" fmla="*/ 0 w 1556"/>
                  <a:gd name="T25" fmla="*/ 0 h 1629"/>
                  <a:gd name="T26" fmla="*/ 0 w 1556"/>
                  <a:gd name="T27" fmla="*/ 0 h 1629"/>
                  <a:gd name="T28" fmla="*/ 1 w 1556"/>
                  <a:gd name="T29" fmla="*/ 0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30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5" name="Freeform 3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488" y="2024"/>
                <a:ext cx="533" cy="465"/>
              </a:xfrm>
              <a:custGeom>
                <a:avLst/>
                <a:gdLst>
                  <a:gd name="T0" fmla="*/ 0 w 1713"/>
                  <a:gd name="T1" fmla="*/ 0 h 1498"/>
                  <a:gd name="T2" fmla="*/ 0 w 1713"/>
                  <a:gd name="T3" fmla="*/ 0 h 1498"/>
                  <a:gd name="T4" fmla="*/ 0 w 1713"/>
                  <a:gd name="T5" fmla="*/ 0 h 1498"/>
                  <a:gd name="T6" fmla="*/ 0 w 1713"/>
                  <a:gd name="T7" fmla="*/ 0 h 1498"/>
                  <a:gd name="T8" fmla="*/ 0 w 1713"/>
                  <a:gd name="T9" fmla="*/ 0 h 1498"/>
                  <a:gd name="T10" fmla="*/ 0 w 1713"/>
                  <a:gd name="T11" fmla="*/ 0 h 1498"/>
                  <a:gd name="T12" fmla="*/ 0 w 1713"/>
                  <a:gd name="T13" fmla="*/ 0 h 1498"/>
                  <a:gd name="T14" fmla="*/ 0 w 1713"/>
                  <a:gd name="T15" fmla="*/ 0 h 1498"/>
                  <a:gd name="T16" fmla="*/ 1 w 1713"/>
                  <a:gd name="T17" fmla="*/ 0 h 1498"/>
                  <a:gd name="T18" fmla="*/ 0 w 1713"/>
                  <a:gd name="T19" fmla="*/ 0 h 1498"/>
                  <a:gd name="T20" fmla="*/ 1 w 1713"/>
                  <a:gd name="T21" fmla="*/ 0 h 1498"/>
                  <a:gd name="T22" fmla="*/ 1 w 1713"/>
                  <a:gd name="T23" fmla="*/ 0 h 1498"/>
                  <a:gd name="T24" fmla="*/ 0 w 1713"/>
                  <a:gd name="T25" fmla="*/ 0 h 1498"/>
                  <a:gd name="T26" fmla="*/ 0 w 1713"/>
                  <a:gd name="T27" fmla="*/ 0 h 1498"/>
                  <a:gd name="T28" fmla="*/ 0 w 1713"/>
                  <a:gd name="T29" fmla="*/ 0 h 1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3"/>
                  <a:gd name="T46" fmla="*/ 0 h 1498"/>
                  <a:gd name="T47" fmla="*/ 1713 w 1713"/>
                  <a:gd name="T48" fmla="*/ 1498 h 1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3" h="1498">
                    <a:moveTo>
                      <a:pt x="857" y="0"/>
                    </a:moveTo>
                    <a:cubicBezTo>
                      <a:pt x="857" y="0"/>
                      <a:pt x="498" y="472"/>
                      <a:pt x="444" y="567"/>
                    </a:cubicBezTo>
                    <a:cubicBezTo>
                      <a:pt x="532" y="548"/>
                      <a:pt x="586" y="597"/>
                      <a:pt x="612" y="638"/>
                    </a:cubicBezTo>
                    <a:cubicBezTo>
                      <a:pt x="638" y="679"/>
                      <a:pt x="646" y="756"/>
                      <a:pt x="601" y="812"/>
                    </a:cubicBezTo>
                    <a:cubicBezTo>
                      <a:pt x="536" y="882"/>
                      <a:pt x="479" y="880"/>
                      <a:pt x="433" y="867"/>
                    </a:cubicBezTo>
                    <a:cubicBezTo>
                      <a:pt x="387" y="854"/>
                      <a:pt x="339" y="809"/>
                      <a:pt x="322" y="735"/>
                    </a:cubicBezTo>
                    <a:cubicBezTo>
                      <a:pt x="269" y="809"/>
                      <a:pt x="161" y="958"/>
                      <a:pt x="0" y="1179"/>
                    </a:cubicBezTo>
                    <a:cubicBezTo>
                      <a:pt x="430" y="1498"/>
                      <a:pt x="909" y="1461"/>
                      <a:pt x="909" y="1461"/>
                    </a:cubicBezTo>
                    <a:cubicBezTo>
                      <a:pt x="909" y="1461"/>
                      <a:pt x="1305" y="1475"/>
                      <a:pt x="1713" y="1177"/>
                    </a:cubicBezTo>
                    <a:cubicBezTo>
                      <a:pt x="1713" y="1177"/>
                      <a:pt x="1450" y="817"/>
                      <a:pt x="1390" y="735"/>
                    </a:cubicBezTo>
                    <a:cubicBezTo>
                      <a:pt x="1485" y="748"/>
                      <a:pt x="1538" y="689"/>
                      <a:pt x="1558" y="652"/>
                    </a:cubicBezTo>
                    <a:cubicBezTo>
                      <a:pt x="1583" y="610"/>
                      <a:pt x="1583" y="540"/>
                      <a:pt x="1546" y="490"/>
                    </a:cubicBezTo>
                    <a:cubicBezTo>
                      <a:pt x="1500" y="440"/>
                      <a:pt x="1466" y="424"/>
                      <a:pt x="1395" y="428"/>
                    </a:cubicBezTo>
                    <a:cubicBezTo>
                      <a:pt x="1343" y="439"/>
                      <a:pt x="1273" y="478"/>
                      <a:pt x="1269" y="567"/>
                    </a:cubicBezTo>
                    <a:cubicBezTo>
                      <a:pt x="1063" y="285"/>
                      <a:pt x="857" y="0"/>
                      <a:pt x="857" y="0"/>
                    </a:cubicBezTo>
                    <a:close/>
                  </a:path>
                </a:pathLst>
              </a:custGeom>
              <a:solidFill>
                <a:srgbClr val="DDDDDD"/>
              </a:solid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6" name="Freeform 36" descr="FOTO 0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755" y="1861"/>
                <a:ext cx="479" cy="529"/>
              </a:xfrm>
              <a:custGeom>
                <a:avLst/>
                <a:gdLst>
                  <a:gd name="T0" fmla="*/ 0 w 1541"/>
                  <a:gd name="T1" fmla="*/ 0 h 1703"/>
                  <a:gd name="T2" fmla="*/ 0 w 1541"/>
                  <a:gd name="T3" fmla="*/ 0 h 1703"/>
                  <a:gd name="T4" fmla="*/ 0 w 1541"/>
                  <a:gd name="T5" fmla="*/ 0 h 1703"/>
                  <a:gd name="T6" fmla="*/ 0 w 1541"/>
                  <a:gd name="T7" fmla="*/ 0 h 1703"/>
                  <a:gd name="T8" fmla="*/ 0 w 1541"/>
                  <a:gd name="T9" fmla="*/ 0 h 1703"/>
                  <a:gd name="T10" fmla="*/ 0 w 1541"/>
                  <a:gd name="T11" fmla="*/ 0 h 1703"/>
                  <a:gd name="T12" fmla="*/ 0 w 1541"/>
                  <a:gd name="T13" fmla="*/ 1 h 1703"/>
                  <a:gd name="T14" fmla="*/ 0 w 1541"/>
                  <a:gd name="T15" fmla="*/ 0 h 1703"/>
                  <a:gd name="T16" fmla="*/ 0 w 1541"/>
                  <a:gd name="T17" fmla="*/ 0 h 1703"/>
                  <a:gd name="T18" fmla="*/ 0 w 1541"/>
                  <a:gd name="T19" fmla="*/ 0 h 1703"/>
                  <a:gd name="T20" fmla="*/ 0 w 1541"/>
                  <a:gd name="T21" fmla="*/ 0 h 1703"/>
                  <a:gd name="T22" fmla="*/ 0 w 1541"/>
                  <a:gd name="T23" fmla="*/ 0 h 1703"/>
                  <a:gd name="T24" fmla="*/ 0 w 1541"/>
                  <a:gd name="T25" fmla="*/ 0 h 1703"/>
                  <a:gd name="T26" fmla="*/ 0 w 1541"/>
                  <a:gd name="T27" fmla="*/ 0 h 1703"/>
                  <a:gd name="T28" fmla="*/ 0 w 1541"/>
                  <a:gd name="T29" fmla="*/ 0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31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7" name="Freeform 37" descr="FOTO 02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70" y="1571"/>
                <a:ext cx="515" cy="453"/>
              </a:xfrm>
              <a:custGeom>
                <a:avLst/>
                <a:gdLst>
                  <a:gd name="T0" fmla="*/ 0 w 1656"/>
                  <a:gd name="T1" fmla="*/ 0 h 1456"/>
                  <a:gd name="T2" fmla="*/ 0 w 1656"/>
                  <a:gd name="T3" fmla="*/ 0 h 1456"/>
                  <a:gd name="T4" fmla="*/ 0 w 1656"/>
                  <a:gd name="T5" fmla="*/ 0 h 1456"/>
                  <a:gd name="T6" fmla="*/ 0 w 1656"/>
                  <a:gd name="T7" fmla="*/ 0 h 1456"/>
                  <a:gd name="T8" fmla="*/ 0 w 1656"/>
                  <a:gd name="T9" fmla="*/ 0 h 1456"/>
                  <a:gd name="T10" fmla="*/ 0 w 1656"/>
                  <a:gd name="T11" fmla="*/ 0 h 1456"/>
                  <a:gd name="T12" fmla="*/ 1 w 1656"/>
                  <a:gd name="T13" fmla="*/ 0 h 1456"/>
                  <a:gd name="T14" fmla="*/ 0 w 1656"/>
                  <a:gd name="T15" fmla="*/ 0 h 1456"/>
                  <a:gd name="T16" fmla="*/ 0 w 1656"/>
                  <a:gd name="T17" fmla="*/ 0 h 1456"/>
                  <a:gd name="T18" fmla="*/ 0 w 1656"/>
                  <a:gd name="T19" fmla="*/ 0 h 1456"/>
                  <a:gd name="T20" fmla="*/ 0 w 1656"/>
                  <a:gd name="T21" fmla="*/ 0 h 1456"/>
                  <a:gd name="T22" fmla="*/ 0 w 1656"/>
                  <a:gd name="T23" fmla="*/ 0 h 1456"/>
                  <a:gd name="T24" fmla="*/ 0 w 1656"/>
                  <a:gd name="T25" fmla="*/ 0 h 1456"/>
                  <a:gd name="T26" fmla="*/ 0 w 1656"/>
                  <a:gd name="T27" fmla="*/ 0 h 1456"/>
                  <a:gd name="T28" fmla="*/ 0 w 1656"/>
                  <a:gd name="T29" fmla="*/ 0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32"/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pic>
            <p:nvPicPr>
              <p:cNvPr id="48" name="Picture 38" descr="MC900434822[1]"/>
              <p:cNvPicPr>
                <a:picLocks noChangeArrowheads="1"/>
              </p:cNvPicPr>
              <p:nvPr>
                <p:custDataLst>
                  <p:tags r:id="rId22"/>
                </p:custDataLst>
              </p:nvPr>
            </p:nvPicPr>
            <p:blipFill>
              <a:blip r:embed="rId33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grayscl/>
              </a:blip>
              <a:srcRect/>
              <a:stretch>
                <a:fillRect/>
              </a:stretch>
            </p:blipFill>
            <p:spPr bwMode="auto">
              <a:xfrm>
                <a:off x="1606" y="2203"/>
                <a:ext cx="294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7" name="Group 39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642" y="2068"/>
              <a:ext cx="126" cy="134"/>
              <a:chOff x="1220" y="960"/>
              <a:chExt cx="205" cy="219"/>
            </a:xfrm>
          </p:grpSpPr>
          <p:grpSp>
            <p:nvGrpSpPr>
              <p:cNvPr id="36" name="Group 40"/>
              <p:cNvGrpSpPr>
                <a:grpSpLocks/>
              </p:cNvGrpSpPr>
              <p:nvPr>
                <p:custDataLst>
                  <p:tags r:id="rId15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8" name="Oval 4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9" name="Oval 4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0" name="Oval 4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1" name="Oval 44"/>
                <p:cNvSpPr>
                  <a:spLocks noChangeArrowheads="1"/>
                </p:cNvSpPr>
                <p:nvPr/>
              </p:nvSpPr>
              <p:spPr bwMode="gray">
                <a:xfrm>
                  <a:off x="67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7" name="Rectangle 45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8" name="Group 46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634" y="2068"/>
              <a:ext cx="126" cy="134"/>
              <a:chOff x="1220" y="960"/>
              <a:chExt cx="205" cy="219"/>
            </a:xfrm>
          </p:grpSpPr>
          <p:grpSp>
            <p:nvGrpSpPr>
              <p:cNvPr id="30" name="Group 47"/>
              <p:cNvGrpSpPr>
                <a:grpSpLocks/>
              </p:cNvGrpSpPr>
              <p:nvPr>
                <p:custDataLst>
                  <p:tags r:id="rId13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2" name="Oval 48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3" name="Oval 49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4" name="Oval 50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5" name="Oval 51"/>
                <p:cNvSpPr>
                  <a:spLocks noChangeArrowheads="1"/>
                </p:cNvSpPr>
                <p:nvPr/>
              </p:nvSpPr>
              <p:spPr bwMode="gray">
                <a:xfrm>
                  <a:off x="69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1" name="Rectangle 52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9" name="Group 53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1324" y="2998"/>
              <a:ext cx="125" cy="134"/>
              <a:chOff x="1220" y="960"/>
              <a:chExt cx="205" cy="219"/>
            </a:xfrm>
          </p:grpSpPr>
          <p:grpSp>
            <p:nvGrpSpPr>
              <p:cNvPr id="24" name="Group 54"/>
              <p:cNvGrpSpPr>
                <a:grpSpLocks/>
              </p:cNvGrpSpPr>
              <p:nvPr>
                <p:custDataLst>
                  <p:tags r:id="rId11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26" name="Oval 55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7" name="Oval 56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8" name="Oval 57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9" name="Oval 58"/>
                <p:cNvSpPr>
                  <a:spLocks noChangeArrowheads="1"/>
                </p:cNvSpPr>
                <p:nvPr/>
              </p:nvSpPr>
              <p:spPr bwMode="gray">
                <a:xfrm>
                  <a:off x="63" y="1358"/>
                  <a:ext cx="668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25" name="Rectangle 59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 flipH="1">
                <a:off x="1277" y="960"/>
                <a:ext cx="102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grpSp>
          <p:nvGrpSpPr>
            <p:cNvPr id="10" name="Group 60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2949" y="2998"/>
              <a:ext cx="126" cy="134"/>
              <a:chOff x="1220" y="960"/>
              <a:chExt cx="205" cy="219"/>
            </a:xfrm>
          </p:grpSpPr>
          <p:grpSp>
            <p:nvGrpSpPr>
              <p:cNvPr id="18" name="Group 61"/>
              <p:cNvGrpSpPr>
                <a:grpSpLocks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20" name="Oval 62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1" name="Oval 63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2" name="Oval 64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3" name="Oval 65"/>
                <p:cNvSpPr>
                  <a:spLocks noChangeArrowheads="1"/>
                </p:cNvSpPr>
                <p:nvPr/>
              </p:nvSpPr>
              <p:spPr bwMode="gray">
                <a:xfrm>
                  <a:off x="62" y="1358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9" name="Rectangle 66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grpSp>
          <p:nvGrpSpPr>
            <p:cNvPr id="11" name="Group 67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2138" y="3591"/>
              <a:ext cx="125" cy="133"/>
              <a:chOff x="1220" y="960"/>
              <a:chExt cx="205" cy="217"/>
            </a:xfrm>
          </p:grpSpPr>
          <p:grpSp>
            <p:nvGrpSpPr>
              <p:cNvPr id="12" name="Group 68"/>
              <p:cNvGrpSpPr>
                <a:grpSpLocks/>
              </p:cNvGrpSpPr>
              <p:nvPr>
                <p:custDataLst>
                  <p:tags r:id="rId7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4" name="Oval 69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5" name="Oval 70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6" name="Oval 71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7" name="Oval 72"/>
                <p:cNvSpPr>
                  <a:spLocks noChangeArrowheads="1"/>
                </p:cNvSpPr>
                <p:nvPr/>
              </p:nvSpPr>
              <p:spPr bwMode="gray">
                <a:xfrm>
                  <a:off x="63" y="1361"/>
                  <a:ext cx="668" cy="583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3" name="Rectangle 73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flipH="1">
                <a:off x="1277" y="960"/>
                <a:ext cx="10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sp>
        <p:nvSpPr>
          <p:cNvPr id="54" name="CaixaDeTexto 75"/>
          <p:cNvSpPr txBox="1">
            <a:spLocks noChangeArrowheads="1"/>
          </p:cNvSpPr>
          <p:nvPr/>
        </p:nvSpPr>
        <p:spPr bwMode="auto">
          <a:xfrm>
            <a:off x="965798" y="844407"/>
            <a:ext cx="77422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Macroestratégias</a:t>
            </a:r>
          </a:p>
        </p:txBody>
      </p:sp>
      <p:sp>
        <p:nvSpPr>
          <p:cNvPr id="56" name="Seta para a direita 55"/>
          <p:cNvSpPr/>
          <p:nvPr/>
        </p:nvSpPr>
        <p:spPr>
          <a:xfrm>
            <a:off x="7643813" y="5715000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1749887" y="3657277"/>
            <a:ext cx="2447925" cy="20955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>
              <a:defRPr/>
            </a:pPr>
            <a:endParaRPr lang="pt-BR" dirty="0">
              <a:cs typeface="+mn-cs"/>
            </a:endParaRPr>
          </a:p>
        </p:txBody>
      </p:sp>
      <p:grpSp>
        <p:nvGrpSpPr>
          <p:cNvPr id="4" name="Group 25"/>
          <p:cNvGrpSpPr>
            <a:grpSpLocks/>
          </p:cNvGrpSpPr>
          <p:nvPr/>
        </p:nvGrpSpPr>
        <p:grpSpPr bwMode="auto">
          <a:xfrm>
            <a:off x="908764" y="2815108"/>
            <a:ext cx="1924050" cy="1919288"/>
            <a:chOff x="1243" y="1854"/>
            <a:chExt cx="1912" cy="1908"/>
          </a:xfrm>
        </p:grpSpPr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1239" y="1856"/>
              <a:ext cx="1908" cy="1909"/>
              <a:chOff x="1242" y="1510"/>
              <a:chExt cx="1023" cy="1021"/>
            </a:xfrm>
          </p:grpSpPr>
          <p:grpSp>
            <p:nvGrpSpPr>
              <p:cNvPr id="41" name="Group 27"/>
              <p:cNvGrpSpPr>
                <a:grpSpLocks/>
              </p:cNvGrpSpPr>
              <p:nvPr/>
            </p:nvGrpSpPr>
            <p:grpSpPr bwMode="auto">
              <a:xfrm>
                <a:off x="1242" y="1510"/>
                <a:ext cx="1023" cy="1021"/>
                <a:chOff x="1242" y="1510"/>
                <a:chExt cx="1023" cy="1021"/>
              </a:xfrm>
            </p:grpSpPr>
            <p:sp>
              <p:nvSpPr>
                <p:cNvPr id="48" name="Freeform 28"/>
                <p:cNvSpPr>
                  <a:spLocks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1754" y="1510"/>
                  <a:ext cx="484" cy="513"/>
                </a:xfrm>
                <a:custGeom>
                  <a:avLst/>
                  <a:gdLst>
                    <a:gd name="T0" fmla="*/ 759055 w 142"/>
                    <a:gd name="T1" fmla="*/ 563380 h 150"/>
                    <a:gd name="T2" fmla="*/ 0 w 142"/>
                    <a:gd name="T3" fmla="*/ 4644 h 150"/>
                    <a:gd name="T4" fmla="*/ 0 w 142"/>
                    <a:gd name="T5" fmla="*/ 4644 h 150"/>
                    <a:gd name="T6" fmla="*/ 0 w 142"/>
                    <a:gd name="T7" fmla="*/ 820714 h 150"/>
                    <a:gd name="T8" fmla="*/ 759055 w 142"/>
                    <a:gd name="T9" fmla="*/ 563380 h 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2"/>
                    <a:gd name="T16" fmla="*/ 0 h 150"/>
                    <a:gd name="T17" fmla="*/ 142 w 142"/>
                    <a:gd name="T18" fmla="*/ 150 h 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2" h="150">
                      <a:moveTo>
                        <a:pt x="142" y="103"/>
                      </a:moveTo>
                      <a:cubicBezTo>
                        <a:pt x="122" y="42"/>
                        <a:pt x="65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42" y="103"/>
                      </a:lnTo>
                      <a:close/>
                    </a:path>
                  </a:pathLst>
                </a:custGeom>
                <a:solidFill>
                  <a:srgbClr val="FF9900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995C00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9" name="Freeform 29"/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1754" y="1862"/>
                  <a:ext cx="511" cy="573"/>
                </a:xfrm>
                <a:custGeom>
                  <a:avLst/>
                  <a:gdLst>
                    <a:gd name="T0" fmla="*/ 468972 w 150"/>
                    <a:gd name="T1" fmla="*/ 901929 h 168"/>
                    <a:gd name="T2" fmla="*/ 798822 w 150"/>
                    <a:gd name="T3" fmla="*/ 251980 h 168"/>
                    <a:gd name="T4" fmla="*/ 756672 w 150"/>
                    <a:gd name="T5" fmla="*/ 0 h 168"/>
                    <a:gd name="T6" fmla="*/ 0 w 150"/>
                    <a:gd name="T7" fmla="*/ 251980 h 168"/>
                    <a:gd name="T8" fmla="*/ 468972 w 150"/>
                    <a:gd name="T9" fmla="*/ 901929 h 1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8"/>
                    <a:gd name="T17" fmla="*/ 150 w 150"/>
                    <a:gd name="T18" fmla="*/ 168 h 1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8">
                      <a:moveTo>
                        <a:pt x="88" y="168"/>
                      </a:moveTo>
                      <a:cubicBezTo>
                        <a:pt x="127" y="140"/>
                        <a:pt x="150" y="95"/>
                        <a:pt x="150" y="47"/>
                      </a:cubicBezTo>
                      <a:cubicBezTo>
                        <a:pt x="150" y="31"/>
                        <a:pt x="147" y="15"/>
                        <a:pt x="142" y="0"/>
                      </a:cubicBezTo>
                      <a:lnTo>
                        <a:pt x="0" y="47"/>
                      </a:lnTo>
                      <a:lnTo>
                        <a:pt x="88" y="168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0" name="Freeform 30"/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1454" y="2023"/>
                  <a:ext cx="599" cy="508"/>
                </a:xfrm>
                <a:custGeom>
                  <a:avLst/>
                  <a:gdLst>
                    <a:gd name="T0" fmla="*/ 0 w 176"/>
                    <a:gd name="T1" fmla="*/ 642214 h 149"/>
                    <a:gd name="T2" fmla="*/ 466247 w 176"/>
                    <a:gd name="T3" fmla="*/ 797846 h 149"/>
                    <a:gd name="T4" fmla="*/ 931163 w 176"/>
                    <a:gd name="T5" fmla="*/ 648559 h 149"/>
                    <a:gd name="T6" fmla="*/ 466247 w 176"/>
                    <a:gd name="T7" fmla="*/ 0 h 149"/>
                    <a:gd name="T8" fmla="*/ 0 w 176"/>
                    <a:gd name="T9" fmla="*/ 642214 h 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6"/>
                    <a:gd name="T16" fmla="*/ 0 h 149"/>
                    <a:gd name="T17" fmla="*/ 176 w 176"/>
                    <a:gd name="T18" fmla="*/ 149 h 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6" h="149">
                      <a:moveTo>
                        <a:pt x="0" y="120"/>
                      </a:moveTo>
                      <a:cubicBezTo>
                        <a:pt x="25" y="139"/>
                        <a:pt x="56" y="149"/>
                        <a:pt x="88" y="149"/>
                      </a:cubicBezTo>
                      <a:cubicBezTo>
                        <a:pt x="120" y="149"/>
                        <a:pt x="150" y="140"/>
                        <a:pt x="176" y="121"/>
                      </a:cubicBezTo>
                      <a:lnTo>
                        <a:pt x="88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1" name="Freeform 31"/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1242" y="1865"/>
                  <a:ext cx="512" cy="567"/>
                </a:xfrm>
                <a:custGeom>
                  <a:avLst/>
                  <a:gdLst>
                    <a:gd name="T0" fmla="*/ 42629 w 150"/>
                    <a:gd name="T1" fmla="*/ 0 h 166"/>
                    <a:gd name="T2" fmla="*/ 4615 w 150"/>
                    <a:gd name="T3" fmla="*/ 249224 h 166"/>
                    <a:gd name="T4" fmla="*/ 335404 w 150"/>
                    <a:gd name="T5" fmla="*/ 900522 h 166"/>
                    <a:gd name="T6" fmla="*/ 809957 w 150"/>
                    <a:gd name="T7" fmla="*/ 249224 h 166"/>
                    <a:gd name="T8" fmla="*/ 42629 w 150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6"/>
                    <a:gd name="T17" fmla="*/ 150 w 150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6">
                      <a:moveTo>
                        <a:pt x="8" y="0"/>
                      </a:moveTo>
                      <a:cubicBezTo>
                        <a:pt x="3" y="15"/>
                        <a:pt x="1" y="30"/>
                        <a:pt x="1" y="46"/>
                      </a:cubicBezTo>
                      <a:cubicBezTo>
                        <a:pt x="0" y="94"/>
                        <a:pt x="23" y="138"/>
                        <a:pt x="62" y="166"/>
                      </a:cubicBezTo>
                      <a:lnTo>
                        <a:pt x="150" y="4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2" name="Freeform 32"/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1269" y="1513"/>
                  <a:ext cx="485" cy="510"/>
                </a:xfrm>
                <a:custGeom>
                  <a:avLst/>
                  <a:gdLst>
                    <a:gd name="T0" fmla="*/ 770105 w 142"/>
                    <a:gd name="T1" fmla="*/ 0 h 149"/>
                    <a:gd name="T2" fmla="*/ 0 w 142"/>
                    <a:gd name="T3" fmla="*/ 567544 h 149"/>
                    <a:gd name="T4" fmla="*/ 770105 w 142"/>
                    <a:gd name="T5" fmla="*/ 820261 h 149"/>
                    <a:gd name="T6" fmla="*/ 770105 w 142"/>
                    <a:gd name="T7" fmla="*/ 0 h 1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2"/>
                    <a:gd name="T13" fmla="*/ 0 h 149"/>
                    <a:gd name="T14" fmla="*/ 142 w 142"/>
                    <a:gd name="T15" fmla="*/ 149 h 1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2" h="149">
                      <a:moveTo>
                        <a:pt x="142" y="0"/>
                      </a:moveTo>
                      <a:cubicBezTo>
                        <a:pt x="77" y="0"/>
                        <a:pt x="20" y="41"/>
                        <a:pt x="0" y="103"/>
                      </a:cubicBezTo>
                      <a:lnTo>
                        <a:pt x="142" y="14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</p:grpSp>
          <p:sp>
            <p:nvSpPr>
              <p:cNvPr id="42" name="Freeform 33" descr="FOTO 01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324" y="1571"/>
                <a:ext cx="431" cy="461"/>
              </a:xfrm>
              <a:custGeom>
                <a:avLst/>
                <a:gdLst>
                  <a:gd name="T0" fmla="*/ 0 w 1385"/>
                  <a:gd name="T1" fmla="*/ 0 h 1485"/>
                  <a:gd name="T2" fmla="*/ 0 w 1385"/>
                  <a:gd name="T3" fmla="*/ 0 h 1485"/>
                  <a:gd name="T4" fmla="*/ 0 w 1385"/>
                  <a:gd name="T5" fmla="*/ 0 h 1485"/>
                  <a:gd name="T6" fmla="*/ 0 w 1385"/>
                  <a:gd name="T7" fmla="*/ 0 h 1485"/>
                  <a:gd name="T8" fmla="*/ 0 w 1385"/>
                  <a:gd name="T9" fmla="*/ 0 h 1485"/>
                  <a:gd name="T10" fmla="*/ 0 w 1385"/>
                  <a:gd name="T11" fmla="*/ 0 h 1485"/>
                  <a:gd name="T12" fmla="*/ 0 w 1385"/>
                  <a:gd name="T13" fmla="*/ 0 h 1485"/>
                  <a:gd name="T14" fmla="*/ 0 w 1385"/>
                  <a:gd name="T15" fmla="*/ 0 h 1485"/>
                  <a:gd name="T16" fmla="*/ 0 w 1385"/>
                  <a:gd name="T17" fmla="*/ 0 h 1485"/>
                  <a:gd name="T18" fmla="*/ 0 w 1385"/>
                  <a:gd name="T19" fmla="*/ 0 h 1485"/>
                  <a:gd name="T20" fmla="*/ 0 w 1385"/>
                  <a:gd name="T21" fmla="*/ 0 h 1485"/>
                  <a:gd name="T22" fmla="*/ 0 w 1385"/>
                  <a:gd name="T23" fmla="*/ 0 h 1485"/>
                  <a:gd name="T24" fmla="*/ 0 w 1385"/>
                  <a:gd name="T25" fmla="*/ 0 h 1485"/>
                  <a:gd name="T26" fmla="*/ 0 w 1385"/>
                  <a:gd name="T27" fmla="*/ 0 h 1485"/>
                  <a:gd name="T28" fmla="*/ 0 w 1385"/>
                  <a:gd name="T29" fmla="*/ 0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29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3" name="Freeform 34" descr="FOTO 05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271" y="1884"/>
                <a:ext cx="484" cy="507"/>
              </a:xfrm>
              <a:custGeom>
                <a:avLst/>
                <a:gdLst>
                  <a:gd name="T0" fmla="*/ 1 w 1556"/>
                  <a:gd name="T1" fmla="*/ 0 h 1629"/>
                  <a:gd name="T2" fmla="*/ 0 w 1556"/>
                  <a:gd name="T3" fmla="*/ 0 h 1629"/>
                  <a:gd name="T4" fmla="*/ 0 w 1556"/>
                  <a:gd name="T5" fmla="*/ 0 h 1629"/>
                  <a:gd name="T6" fmla="*/ 0 w 1556"/>
                  <a:gd name="T7" fmla="*/ 0 h 1629"/>
                  <a:gd name="T8" fmla="*/ 0 w 1556"/>
                  <a:gd name="T9" fmla="*/ 0 h 1629"/>
                  <a:gd name="T10" fmla="*/ 0 w 1556"/>
                  <a:gd name="T11" fmla="*/ 0 h 1629"/>
                  <a:gd name="T12" fmla="*/ 0 w 1556"/>
                  <a:gd name="T13" fmla="*/ 0 h 1629"/>
                  <a:gd name="T14" fmla="*/ 0 w 1556"/>
                  <a:gd name="T15" fmla="*/ 0 h 1629"/>
                  <a:gd name="T16" fmla="*/ 0 w 1556"/>
                  <a:gd name="T17" fmla="*/ 1 h 1629"/>
                  <a:gd name="T18" fmla="*/ 0 w 1556"/>
                  <a:gd name="T19" fmla="*/ 0 h 1629"/>
                  <a:gd name="T20" fmla="*/ 0 w 1556"/>
                  <a:gd name="T21" fmla="*/ 0 h 1629"/>
                  <a:gd name="T22" fmla="*/ 0 w 1556"/>
                  <a:gd name="T23" fmla="*/ 0 h 1629"/>
                  <a:gd name="T24" fmla="*/ 0 w 1556"/>
                  <a:gd name="T25" fmla="*/ 0 h 1629"/>
                  <a:gd name="T26" fmla="*/ 0 w 1556"/>
                  <a:gd name="T27" fmla="*/ 0 h 1629"/>
                  <a:gd name="T28" fmla="*/ 1 w 1556"/>
                  <a:gd name="T29" fmla="*/ 0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30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4" name="Freeform 3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488" y="2024"/>
                <a:ext cx="533" cy="465"/>
              </a:xfrm>
              <a:custGeom>
                <a:avLst/>
                <a:gdLst>
                  <a:gd name="T0" fmla="*/ 0 w 1713"/>
                  <a:gd name="T1" fmla="*/ 0 h 1498"/>
                  <a:gd name="T2" fmla="*/ 0 w 1713"/>
                  <a:gd name="T3" fmla="*/ 0 h 1498"/>
                  <a:gd name="T4" fmla="*/ 0 w 1713"/>
                  <a:gd name="T5" fmla="*/ 0 h 1498"/>
                  <a:gd name="T6" fmla="*/ 0 w 1713"/>
                  <a:gd name="T7" fmla="*/ 0 h 1498"/>
                  <a:gd name="T8" fmla="*/ 0 w 1713"/>
                  <a:gd name="T9" fmla="*/ 0 h 1498"/>
                  <a:gd name="T10" fmla="*/ 0 w 1713"/>
                  <a:gd name="T11" fmla="*/ 0 h 1498"/>
                  <a:gd name="T12" fmla="*/ 0 w 1713"/>
                  <a:gd name="T13" fmla="*/ 0 h 1498"/>
                  <a:gd name="T14" fmla="*/ 0 w 1713"/>
                  <a:gd name="T15" fmla="*/ 0 h 1498"/>
                  <a:gd name="T16" fmla="*/ 1 w 1713"/>
                  <a:gd name="T17" fmla="*/ 0 h 1498"/>
                  <a:gd name="T18" fmla="*/ 0 w 1713"/>
                  <a:gd name="T19" fmla="*/ 0 h 1498"/>
                  <a:gd name="T20" fmla="*/ 1 w 1713"/>
                  <a:gd name="T21" fmla="*/ 0 h 1498"/>
                  <a:gd name="T22" fmla="*/ 1 w 1713"/>
                  <a:gd name="T23" fmla="*/ 0 h 1498"/>
                  <a:gd name="T24" fmla="*/ 0 w 1713"/>
                  <a:gd name="T25" fmla="*/ 0 h 1498"/>
                  <a:gd name="T26" fmla="*/ 0 w 1713"/>
                  <a:gd name="T27" fmla="*/ 0 h 1498"/>
                  <a:gd name="T28" fmla="*/ 0 w 1713"/>
                  <a:gd name="T29" fmla="*/ 0 h 1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3"/>
                  <a:gd name="T46" fmla="*/ 0 h 1498"/>
                  <a:gd name="T47" fmla="*/ 1713 w 1713"/>
                  <a:gd name="T48" fmla="*/ 1498 h 1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3" h="1498">
                    <a:moveTo>
                      <a:pt x="857" y="0"/>
                    </a:moveTo>
                    <a:cubicBezTo>
                      <a:pt x="857" y="0"/>
                      <a:pt x="498" y="472"/>
                      <a:pt x="444" y="567"/>
                    </a:cubicBezTo>
                    <a:cubicBezTo>
                      <a:pt x="532" y="548"/>
                      <a:pt x="586" y="597"/>
                      <a:pt x="612" y="638"/>
                    </a:cubicBezTo>
                    <a:cubicBezTo>
                      <a:pt x="638" y="679"/>
                      <a:pt x="646" y="756"/>
                      <a:pt x="601" y="812"/>
                    </a:cubicBezTo>
                    <a:cubicBezTo>
                      <a:pt x="536" y="882"/>
                      <a:pt x="479" y="880"/>
                      <a:pt x="433" y="867"/>
                    </a:cubicBezTo>
                    <a:cubicBezTo>
                      <a:pt x="387" y="854"/>
                      <a:pt x="339" y="809"/>
                      <a:pt x="322" y="735"/>
                    </a:cubicBezTo>
                    <a:cubicBezTo>
                      <a:pt x="269" y="809"/>
                      <a:pt x="161" y="958"/>
                      <a:pt x="0" y="1179"/>
                    </a:cubicBezTo>
                    <a:cubicBezTo>
                      <a:pt x="430" y="1498"/>
                      <a:pt x="909" y="1461"/>
                      <a:pt x="909" y="1461"/>
                    </a:cubicBezTo>
                    <a:cubicBezTo>
                      <a:pt x="909" y="1461"/>
                      <a:pt x="1305" y="1475"/>
                      <a:pt x="1713" y="1177"/>
                    </a:cubicBezTo>
                    <a:cubicBezTo>
                      <a:pt x="1713" y="1177"/>
                      <a:pt x="1450" y="817"/>
                      <a:pt x="1390" y="735"/>
                    </a:cubicBezTo>
                    <a:cubicBezTo>
                      <a:pt x="1485" y="748"/>
                      <a:pt x="1538" y="689"/>
                      <a:pt x="1558" y="652"/>
                    </a:cubicBezTo>
                    <a:cubicBezTo>
                      <a:pt x="1583" y="610"/>
                      <a:pt x="1583" y="540"/>
                      <a:pt x="1546" y="490"/>
                    </a:cubicBezTo>
                    <a:cubicBezTo>
                      <a:pt x="1500" y="440"/>
                      <a:pt x="1466" y="424"/>
                      <a:pt x="1395" y="428"/>
                    </a:cubicBezTo>
                    <a:cubicBezTo>
                      <a:pt x="1343" y="439"/>
                      <a:pt x="1273" y="478"/>
                      <a:pt x="1269" y="567"/>
                    </a:cubicBezTo>
                    <a:cubicBezTo>
                      <a:pt x="1063" y="285"/>
                      <a:pt x="857" y="0"/>
                      <a:pt x="857" y="0"/>
                    </a:cubicBezTo>
                    <a:close/>
                  </a:path>
                </a:pathLst>
              </a:custGeom>
              <a:solidFill>
                <a:srgbClr val="DDDDDD"/>
              </a:solid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5" name="Freeform 36" descr="FOTO 0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755" y="1861"/>
                <a:ext cx="479" cy="529"/>
              </a:xfrm>
              <a:custGeom>
                <a:avLst/>
                <a:gdLst>
                  <a:gd name="T0" fmla="*/ 0 w 1541"/>
                  <a:gd name="T1" fmla="*/ 0 h 1703"/>
                  <a:gd name="T2" fmla="*/ 0 w 1541"/>
                  <a:gd name="T3" fmla="*/ 0 h 1703"/>
                  <a:gd name="T4" fmla="*/ 0 w 1541"/>
                  <a:gd name="T5" fmla="*/ 0 h 1703"/>
                  <a:gd name="T6" fmla="*/ 0 w 1541"/>
                  <a:gd name="T7" fmla="*/ 0 h 1703"/>
                  <a:gd name="T8" fmla="*/ 0 w 1541"/>
                  <a:gd name="T9" fmla="*/ 0 h 1703"/>
                  <a:gd name="T10" fmla="*/ 0 w 1541"/>
                  <a:gd name="T11" fmla="*/ 0 h 1703"/>
                  <a:gd name="T12" fmla="*/ 0 w 1541"/>
                  <a:gd name="T13" fmla="*/ 1 h 1703"/>
                  <a:gd name="T14" fmla="*/ 0 w 1541"/>
                  <a:gd name="T15" fmla="*/ 0 h 1703"/>
                  <a:gd name="T16" fmla="*/ 0 w 1541"/>
                  <a:gd name="T17" fmla="*/ 0 h 1703"/>
                  <a:gd name="T18" fmla="*/ 0 w 1541"/>
                  <a:gd name="T19" fmla="*/ 0 h 1703"/>
                  <a:gd name="T20" fmla="*/ 0 w 1541"/>
                  <a:gd name="T21" fmla="*/ 0 h 1703"/>
                  <a:gd name="T22" fmla="*/ 0 w 1541"/>
                  <a:gd name="T23" fmla="*/ 0 h 1703"/>
                  <a:gd name="T24" fmla="*/ 0 w 1541"/>
                  <a:gd name="T25" fmla="*/ 0 h 1703"/>
                  <a:gd name="T26" fmla="*/ 0 w 1541"/>
                  <a:gd name="T27" fmla="*/ 0 h 1703"/>
                  <a:gd name="T28" fmla="*/ 0 w 1541"/>
                  <a:gd name="T29" fmla="*/ 0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31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6" name="Freeform 37" descr="FOTO 02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70" y="1571"/>
                <a:ext cx="515" cy="453"/>
              </a:xfrm>
              <a:custGeom>
                <a:avLst/>
                <a:gdLst>
                  <a:gd name="T0" fmla="*/ 0 w 1656"/>
                  <a:gd name="T1" fmla="*/ 0 h 1456"/>
                  <a:gd name="T2" fmla="*/ 0 w 1656"/>
                  <a:gd name="T3" fmla="*/ 0 h 1456"/>
                  <a:gd name="T4" fmla="*/ 0 w 1656"/>
                  <a:gd name="T5" fmla="*/ 0 h 1456"/>
                  <a:gd name="T6" fmla="*/ 0 w 1656"/>
                  <a:gd name="T7" fmla="*/ 0 h 1456"/>
                  <a:gd name="T8" fmla="*/ 0 w 1656"/>
                  <a:gd name="T9" fmla="*/ 0 h 1456"/>
                  <a:gd name="T10" fmla="*/ 0 w 1656"/>
                  <a:gd name="T11" fmla="*/ 0 h 1456"/>
                  <a:gd name="T12" fmla="*/ 1 w 1656"/>
                  <a:gd name="T13" fmla="*/ 0 h 1456"/>
                  <a:gd name="T14" fmla="*/ 0 w 1656"/>
                  <a:gd name="T15" fmla="*/ 0 h 1456"/>
                  <a:gd name="T16" fmla="*/ 0 w 1656"/>
                  <a:gd name="T17" fmla="*/ 0 h 1456"/>
                  <a:gd name="T18" fmla="*/ 0 w 1656"/>
                  <a:gd name="T19" fmla="*/ 0 h 1456"/>
                  <a:gd name="T20" fmla="*/ 0 w 1656"/>
                  <a:gd name="T21" fmla="*/ 0 h 1456"/>
                  <a:gd name="T22" fmla="*/ 0 w 1656"/>
                  <a:gd name="T23" fmla="*/ 0 h 1456"/>
                  <a:gd name="T24" fmla="*/ 0 w 1656"/>
                  <a:gd name="T25" fmla="*/ 0 h 1456"/>
                  <a:gd name="T26" fmla="*/ 0 w 1656"/>
                  <a:gd name="T27" fmla="*/ 0 h 1456"/>
                  <a:gd name="T28" fmla="*/ 0 w 1656"/>
                  <a:gd name="T29" fmla="*/ 0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32"/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pic>
            <p:nvPicPr>
              <p:cNvPr id="47" name="Picture 38" descr="MC900434822[1]"/>
              <p:cNvPicPr>
                <a:picLocks noChangeArrowheads="1"/>
              </p:cNvPicPr>
              <p:nvPr>
                <p:custDataLst>
                  <p:tags r:id="rId22"/>
                </p:custDataLst>
              </p:nvPr>
            </p:nvPicPr>
            <p:blipFill>
              <a:blip r:embed="rId33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grayscl/>
              </a:blip>
              <a:srcRect/>
              <a:stretch>
                <a:fillRect/>
              </a:stretch>
            </p:blipFill>
            <p:spPr bwMode="auto">
              <a:xfrm>
                <a:off x="1606" y="2203"/>
                <a:ext cx="294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" name="Group 39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642" y="2068"/>
              <a:ext cx="126" cy="134"/>
              <a:chOff x="1220" y="960"/>
              <a:chExt cx="205" cy="219"/>
            </a:xfrm>
          </p:grpSpPr>
          <p:grpSp>
            <p:nvGrpSpPr>
              <p:cNvPr id="35" name="Group 40"/>
              <p:cNvGrpSpPr>
                <a:grpSpLocks/>
              </p:cNvGrpSpPr>
              <p:nvPr>
                <p:custDataLst>
                  <p:tags r:id="rId15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7" name="Oval 4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8" name="Oval 4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9" name="Oval 4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0" name="Oval 44"/>
                <p:cNvSpPr>
                  <a:spLocks noChangeArrowheads="1"/>
                </p:cNvSpPr>
                <p:nvPr/>
              </p:nvSpPr>
              <p:spPr bwMode="gray">
                <a:xfrm>
                  <a:off x="67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6" name="Rectangle 45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7" name="Group 46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634" y="2068"/>
              <a:ext cx="126" cy="134"/>
              <a:chOff x="1220" y="960"/>
              <a:chExt cx="205" cy="219"/>
            </a:xfrm>
          </p:grpSpPr>
          <p:grpSp>
            <p:nvGrpSpPr>
              <p:cNvPr id="29" name="Group 47"/>
              <p:cNvGrpSpPr>
                <a:grpSpLocks/>
              </p:cNvGrpSpPr>
              <p:nvPr>
                <p:custDataLst>
                  <p:tags r:id="rId13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1" name="Oval 48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2" name="Oval 49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3" name="Oval 50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4" name="Oval 51"/>
                <p:cNvSpPr>
                  <a:spLocks noChangeArrowheads="1"/>
                </p:cNvSpPr>
                <p:nvPr/>
              </p:nvSpPr>
              <p:spPr bwMode="gray">
                <a:xfrm>
                  <a:off x="69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0" name="Rectangle 52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8" name="Group 53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1324" y="2998"/>
              <a:ext cx="125" cy="134"/>
              <a:chOff x="1220" y="960"/>
              <a:chExt cx="205" cy="219"/>
            </a:xfrm>
          </p:grpSpPr>
          <p:grpSp>
            <p:nvGrpSpPr>
              <p:cNvPr id="23" name="Group 54"/>
              <p:cNvGrpSpPr>
                <a:grpSpLocks/>
              </p:cNvGrpSpPr>
              <p:nvPr>
                <p:custDataLst>
                  <p:tags r:id="rId11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25" name="Oval 55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6" name="Oval 56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7" name="Oval 57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8" name="Oval 58"/>
                <p:cNvSpPr>
                  <a:spLocks noChangeArrowheads="1"/>
                </p:cNvSpPr>
                <p:nvPr/>
              </p:nvSpPr>
              <p:spPr bwMode="gray">
                <a:xfrm>
                  <a:off x="63" y="1358"/>
                  <a:ext cx="668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24" name="Rectangle 59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 flipH="1">
                <a:off x="1277" y="960"/>
                <a:ext cx="102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grpSp>
          <p:nvGrpSpPr>
            <p:cNvPr id="9" name="Group 60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2949" y="2998"/>
              <a:ext cx="126" cy="134"/>
              <a:chOff x="1220" y="960"/>
              <a:chExt cx="205" cy="219"/>
            </a:xfrm>
          </p:grpSpPr>
          <p:grpSp>
            <p:nvGrpSpPr>
              <p:cNvPr id="17" name="Group 61"/>
              <p:cNvGrpSpPr>
                <a:grpSpLocks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9" name="Oval 62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0" name="Oval 63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1" name="Oval 64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2" name="Oval 65"/>
                <p:cNvSpPr>
                  <a:spLocks noChangeArrowheads="1"/>
                </p:cNvSpPr>
                <p:nvPr/>
              </p:nvSpPr>
              <p:spPr bwMode="gray">
                <a:xfrm>
                  <a:off x="62" y="1358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8" name="Rectangle 66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grpSp>
          <p:nvGrpSpPr>
            <p:cNvPr id="10" name="Group 67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2138" y="3591"/>
              <a:ext cx="125" cy="133"/>
              <a:chOff x="1220" y="960"/>
              <a:chExt cx="205" cy="217"/>
            </a:xfrm>
          </p:grpSpPr>
          <p:grpSp>
            <p:nvGrpSpPr>
              <p:cNvPr id="11" name="Group 68"/>
              <p:cNvGrpSpPr>
                <a:grpSpLocks/>
              </p:cNvGrpSpPr>
              <p:nvPr>
                <p:custDataLst>
                  <p:tags r:id="rId7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3" name="Oval 69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4" name="Oval 70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5" name="Oval 71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6" name="Oval 72"/>
                <p:cNvSpPr>
                  <a:spLocks noChangeArrowheads="1"/>
                </p:cNvSpPr>
                <p:nvPr/>
              </p:nvSpPr>
              <p:spPr bwMode="gray">
                <a:xfrm>
                  <a:off x="63" y="1361"/>
                  <a:ext cx="668" cy="583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2" name="Rectangle 73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flipH="1">
                <a:off x="1277" y="960"/>
                <a:ext cx="10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sp>
        <p:nvSpPr>
          <p:cNvPr id="53" name="CaixaDeTexto 75"/>
          <p:cNvSpPr txBox="1">
            <a:spLocks noChangeArrowheads="1"/>
          </p:cNvSpPr>
          <p:nvPr/>
        </p:nvSpPr>
        <p:spPr bwMode="auto">
          <a:xfrm>
            <a:off x="914998" y="866757"/>
            <a:ext cx="77422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Macroestratégias</a:t>
            </a:r>
          </a:p>
        </p:txBody>
      </p:sp>
      <p:sp>
        <p:nvSpPr>
          <p:cNvPr id="54" name="Rectangle 14"/>
          <p:cNvSpPr>
            <a:spLocks noChangeArrowheads="1"/>
          </p:cNvSpPr>
          <p:nvPr/>
        </p:nvSpPr>
        <p:spPr bwMode="auto">
          <a:xfrm>
            <a:off x="3129425" y="1739100"/>
            <a:ext cx="5591309" cy="3939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3200" b="1" dirty="0">
                <a:latin typeface="Tahoma" pitchFamily="34" charset="0"/>
                <a:cs typeface="Tahoma" pitchFamily="34" charset="0"/>
              </a:rPr>
              <a:t>4-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Replicar nos Anos Finais do Fundamental </a:t>
            </a:r>
            <a:r>
              <a:rPr lang="pt-BR" sz="32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o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sucesso já obtido nos </a:t>
            </a:r>
            <a:r>
              <a:rPr lang="pt-BR" sz="32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Anos Iniciais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e melhorar </a:t>
            </a:r>
            <a:r>
              <a:rPr lang="pt-BR" sz="32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a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atratividade </a:t>
            </a:r>
            <a:r>
              <a:rPr lang="pt-BR" sz="32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e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qualidade do Ensino Médio</a:t>
            </a:r>
            <a:r>
              <a:rPr lang="pt-BR" sz="3200" b="1" dirty="0">
                <a:latin typeface="Tahoma" pitchFamily="34" charset="0"/>
                <a:cs typeface="Tahoma" pitchFamily="34" charset="0"/>
              </a:rPr>
              <a:t>, por meio da criação </a:t>
            </a:r>
            <a:r>
              <a:rPr lang="pt-BR" sz="3200" b="1" dirty="0" smtClean="0">
                <a:latin typeface="Tahoma" pitchFamily="34" charset="0"/>
                <a:cs typeface="Tahoma" pitchFamily="34" charset="0"/>
              </a:rPr>
              <a:t>de instrumentos </a:t>
            </a:r>
            <a:r>
              <a:rPr lang="pt-BR" sz="3200" b="1" dirty="0">
                <a:latin typeface="Tahoma" pitchFamily="34" charset="0"/>
                <a:cs typeface="Tahoma" pitchFamily="34" charset="0"/>
              </a:rPr>
              <a:t>de apoio pedagógico, </a:t>
            </a:r>
          </a:p>
        </p:txBody>
      </p:sp>
      <p:sp>
        <p:nvSpPr>
          <p:cNvPr id="55" name="Seta para a direita 54"/>
          <p:cNvSpPr/>
          <p:nvPr/>
        </p:nvSpPr>
        <p:spPr>
          <a:xfrm>
            <a:off x="7643813" y="5715000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1787987" y="3682200"/>
            <a:ext cx="2447925" cy="20955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>
              <a:defRPr/>
            </a:pPr>
            <a:endParaRPr lang="pt-BR" dirty="0">
              <a:cs typeface="+mn-cs"/>
            </a:endParaRPr>
          </a:p>
        </p:txBody>
      </p:sp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908764" y="2827331"/>
            <a:ext cx="1924050" cy="1919288"/>
            <a:chOff x="1243" y="1854"/>
            <a:chExt cx="1912" cy="1908"/>
          </a:xfrm>
        </p:grpSpPr>
        <p:grpSp>
          <p:nvGrpSpPr>
            <p:cNvPr id="4" name="Group 26"/>
            <p:cNvGrpSpPr>
              <a:grpSpLocks/>
            </p:cNvGrpSpPr>
            <p:nvPr/>
          </p:nvGrpSpPr>
          <p:grpSpPr bwMode="auto">
            <a:xfrm>
              <a:off x="1239" y="1856"/>
              <a:ext cx="1908" cy="1909"/>
              <a:chOff x="1242" y="1510"/>
              <a:chExt cx="1023" cy="1021"/>
            </a:xfrm>
          </p:grpSpPr>
          <p:grpSp>
            <p:nvGrpSpPr>
              <p:cNvPr id="5" name="Group 27"/>
              <p:cNvGrpSpPr>
                <a:grpSpLocks/>
              </p:cNvGrpSpPr>
              <p:nvPr/>
            </p:nvGrpSpPr>
            <p:grpSpPr bwMode="auto">
              <a:xfrm>
                <a:off x="1242" y="1510"/>
                <a:ext cx="1023" cy="1021"/>
                <a:chOff x="1242" y="1510"/>
                <a:chExt cx="1023" cy="1021"/>
              </a:xfrm>
            </p:grpSpPr>
            <p:sp>
              <p:nvSpPr>
                <p:cNvPr id="48" name="Freeform 28"/>
                <p:cNvSpPr>
                  <a:spLocks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1754" y="1510"/>
                  <a:ext cx="484" cy="513"/>
                </a:xfrm>
                <a:custGeom>
                  <a:avLst/>
                  <a:gdLst>
                    <a:gd name="T0" fmla="*/ 759055 w 142"/>
                    <a:gd name="T1" fmla="*/ 563380 h 150"/>
                    <a:gd name="T2" fmla="*/ 0 w 142"/>
                    <a:gd name="T3" fmla="*/ 4644 h 150"/>
                    <a:gd name="T4" fmla="*/ 0 w 142"/>
                    <a:gd name="T5" fmla="*/ 4644 h 150"/>
                    <a:gd name="T6" fmla="*/ 0 w 142"/>
                    <a:gd name="T7" fmla="*/ 820714 h 150"/>
                    <a:gd name="T8" fmla="*/ 759055 w 142"/>
                    <a:gd name="T9" fmla="*/ 563380 h 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2"/>
                    <a:gd name="T16" fmla="*/ 0 h 150"/>
                    <a:gd name="T17" fmla="*/ 142 w 142"/>
                    <a:gd name="T18" fmla="*/ 150 h 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2" h="150">
                      <a:moveTo>
                        <a:pt x="142" y="103"/>
                      </a:moveTo>
                      <a:cubicBezTo>
                        <a:pt x="122" y="42"/>
                        <a:pt x="65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42" y="103"/>
                      </a:lnTo>
                      <a:close/>
                    </a:path>
                  </a:pathLst>
                </a:custGeom>
                <a:solidFill>
                  <a:srgbClr val="FF9900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995C00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9" name="Freeform 29"/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1754" y="1862"/>
                  <a:ext cx="511" cy="573"/>
                </a:xfrm>
                <a:custGeom>
                  <a:avLst/>
                  <a:gdLst>
                    <a:gd name="T0" fmla="*/ 468972 w 150"/>
                    <a:gd name="T1" fmla="*/ 901929 h 168"/>
                    <a:gd name="T2" fmla="*/ 798822 w 150"/>
                    <a:gd name="T3" fmla="*/ 251980 h 168"/>
                    <a:gd name="T4" fmla="*/ 756672 w 150"/>
                    <a:gd name="T5" fmla="*/ 0 h 168"/>
                    <a:gd name="T6" fmla="*/ 0 w 150"/>
                    <a:gd name="T7" fmla="*/ 251980 h 168"/>
                    <a:gd name="T8" fmla="*/ 468972 w 150"/>
                    <a:gd name="T9" fmla="*/ 901929 h 1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8"/>
                    <a:gd name="T17" fmla="*/ 150 w 150"/>
                    <a:gd name="T18" fmla="*/ 168 h 1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8">
                      <a:moveTo>
                        <a:pt x="88" y="168"/>
                      </a:moveTo>
                      <a:cubicBezTo>
                        <a:pt x="127" y="140"/>
                        <a:pt x="150" y="95"/>
                        <a:pt x="150" y="47"/>
                      </a:cubicBezTo>
                      <a:cubicBezTo>
                        <a:pt x="150" y="31"/>
                        <a:pt x="147" y="15"/>
                        <a:pt x="142" y="0"/>
                      </a:cubicBezTo>
                      <a:lnTo>
                        <a:pt x="0" y="47"/>
                      </a:lnTo>
                      <a:lnTo>
                        <a:pt x="88" y="168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0" name="Freeform 30"/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1454" y="2023"/>
                  <a:ext cx="599" cy="508"/>
                </a:xfrm>
                <a:custGeom>
                  <a:avLst/>
                  <a:gdLst>
                    <a:gd name="T0" fmla="*/ 0 w 176"/>
                    <a:gd name="T1" fmla="*/ 642214 h 149"/>
                    <a:gd name="T2" fmla="*/ 466247 w 176"/>
                    <a:gd name="T3" fmla="*/ 797846 h 149"/>
                    <a:gd name="T4" fmla="*/ 931163 w 176"/>
                    <a:gd name="T5" fmla="*/ 648559 h 149"/>
                    <a:gd name="T6" fmla="*/ 466247 w 176"/>
                    <a:gd name="T7" fmla="*/ 0 h 149"/>
                    <a:gd name="T8" fmla="*/ 0 w 176"/>
                    <a:gd name="T9" fmla="*/ 642214 h 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6"/>
                    <a:gd name="T16" fmla="*/ 0 h 149"/>
                    <a:gd name="T17" fmla="*/ 176 w 176"/>
                    <a:gd name="T18" fmla="*/ 149 h 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6" h="149">
                      <a:moveTo>
                        <a:pt x="0" y="120"/>
                      </a:moveTo>
                      <a:cubicBezTo>
                        <a:pt x="25" y="139"/>
                        <a:pt x="56" y="149"/>
                        <a:pt x="88" y="149"/>
                      </a:cubicBezTo>
                      <a:cubicBezTo>
                        <a:pt x="120" y="149"/>
                        <a:pt x="150" y="140"/>
                        <a:pt x="176" y="121"/>
                      </a:cubicBezTo>
                      <a:lnTo>
                        <a:pt x="88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1" name="Freeform 31"/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1242" y="1865"/>
                  <a:ext cx="512" cy="567"/>
                </a:xfrm>
                <a:custGeom>
                  <a:avLst/>
                  <a:gdLst>
                    <a:gd name="T0" fmla="*/ 42629 w 150"/>
                    <a:gd name="T1" fmla="*/ 0 h 166"/>
                    <a:gd name="T2" fmla="*/ 4615 w 150"/>
                    <a:gd name="T3" fmla="*/ 249224 h 166"/>
                    <a:gd name="T4" fmla="*/ 335404 w 150"/>
                    <a:gd name="T5" fmla="*/ 900522 h 166"/>
                    <a:gd name="T6" fmla="*/ 809957 w 150"/>
                    <a:gd name="T7" fmla="*/ 249224 h 166"/>
                    <a:gd name="T8" fmla="*/ 42629 w 150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6"/>
                    <a:gd name="T17" fmla="*/ 150 w 150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6">
                      <a:moveTo>
                        <a:pt x="8" y="0"/>
                      </a:moveTo>
                      <a:cubicBezTo>
                        <a:pt x="3" y="15"/>
                        <a:pt x="1" y="30"/>
                        <a:pt x="1" y="46"/>
                      </a:cubicBezTo>
                      <a:cubicBezTo>
                        <a:pt x="0" y="94"/>
                        <a:pt x="23" y="138"/>
                        <a:pt x="62" y="166"/>
                      </a:cubicBezTo>
                      <a:lnTo>
                        <a:pt x="150" y="4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2" name="Freeform 32"/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1269" y="1513"/>
                  <a:ext cx="485" cy="510"/>
                </a:xfrm>
                <a:custGeom>
                  <a:avLst/>
                  <a:gdLst>
                    <a:gd name="T0" fmla="*/ 770105 w 142"/>
                    <a:gd name="T1" fmla="*/ 0 h 149"/>
                    <a:gd name="T2" fmla="*/ 0 w 142"/>
                    <a:gd name="T3" fmla="*/ 567544 h 149"/>
                    <a:gd name="T4" fmla="*/ 770105 w 142"/>
                    <a:gd name="T5" fmla="*/ 820261 h 149"/>
                    <a:gd name="T6" fmla="*/ 770105 w 142"/>
                    <a:gd name="T7" fmla="*/ 0 h 1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2"/>
                    <a:gd name="T13" fmla="*/ 0 h 149"/>
                    <a:gd name="T14" fmla="*/ 142 w 142"/>
                    <a:gd name="T15" fmla="*/ 149 h 1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2" h="149">
                      <a:moveTo>
                        <a:pt x="142" y="0"/>
                      </a:moveTo>
                      <a:cubicBezTo>
                        <a:pt x="77" y="0"/>
                        <a:pt x="20" y="41"/>
                        <a:pt x="0" y="103"/>
                      </a:cubicBezTo>
                      <a:lnTo>
                        <a:pt x="142" y="14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</p:grpSp>
          <p:sp>
            <p:nvSpPr>
              <p:cNvPr id="42" name="Freeform 33" descr="FOTO 01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324" y="1571"/>
                <a:ext cx="431" cy="461"/>
              </a:xfrm>
              <a:custGeom>
                <a:avLst/>
                <a:gdLst>
                  <a:gd name="T0" fmla="*/ 0 w 1385"/>
                  <a:gd name="T1" fmla="*/ 0 h 1485"/>
                  <a:gd name="T2" fmla="*/ 0 w 1385"/>
                  <a:gd name="T3" fmla="*/ 0 h 1485"/>
                  <a:gd name="T4" fmla="*/ 0 w 1385"/>
                  <a:gd name="T5" fmla="*/ 0 h 1485"/>
                  <a:gd name="T6" fmla="*/ 0 w 1385"/>
                  <a:gd name="T7" fmla="*/ 0 h 1485"/>
                  <a:gd name="T8" fmla="*/ 0 w 1385"/>
                  <a:gd name="T9" fmla="*/ 0 h 1485"/>
                  <a:gd name="T10" fmla="*/ 0 w 1385"/>
                  <a:gd name="T11" fmla="*/ 0 h 1485"/>
                  <a:gd name="T12" fmla="*/ 0 w 1385"/>
                  <a:gd name="T13" fmla="*/ 0 h 1485"/>
                  <a:gd name="T14" fmla="*/ 0 w 1385"/>
                  <a:gd name="T15" fmla="*/ 0 h 1485"/>
                  <a:gd name="T16" fmla="*/ 0 w 1385"/>
                  <a:gd name="T17" fmla="*/ 0 h 1485"/>
                  <a:gd name="T18" fmla="*/ 0 w 1385"/>
                  <a:gd name="T19" fmla="*/ 0 h 1485"/>
                  <a:gd name="T20" fmla="*/ 0 w 1385"/>
                  <a:gd name="T21" fmla="*/ 0 h 1485"/>
                  <a:gd name="T22" fmla="*/ 0 w 1385"/>
                  <a:gd name="T23" fmla="*/ 0 h 1485"/>
                  <a:gd name="T24" fmla="*/ 0 w 1385"/>
                  <a:gd name="T25" fmla="*/ 0 h 1485"/>
                  <a:gd name="T26" fmla="*/ 0 w 1385"/>
                  <a:gd name="T27" fmla="*/ 0 h 1485"/>
                  <a:gd name="T28" fmla="*/ 0 w 1385"/>
                  <a:gd name="T29" fmla="*/ 0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29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3" name="Freeform 34" descr="FOTO 05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271" y="1884"/>
                <a:ext cx="484" cy="507"/>
              </a:xfrm>
              <a:custGeom>
                <a:avLst/>
                <a:gdLst>
                  <a:gd name="T0" fmla="*/ 1 w 1556"/>
                  <a:gd name="T1" fmla="*/ 0 h 1629"/>
                  <a:gd name="T2" fmla="*/ 0 w 1556"/>
                  <a:gd name="T3" fmla="*/ 0 h 1629"/>
                  <a:gd name="T4" fmla="*/ 0 w 1556"/>
                  <a:gd name="T5" fmla="*/ 0 h 1629"/>
                  <a:gd name="T6" fmla="*/ 0 w 1556"/>
                  <a:gd name="T7" fmla="*/ 0 h 1629"/>
                  <a:gd name="T8" fmla="*/ 0 w 1556"/>
                  <a:gd name="T9" fmla="*/ 0 h 1629"/>
                  <a:gd name="T10" fmla="*/ 0 w 1556"/>
                  <a:gd name="T11" fmla="*/ 0 h 1629"/>
                  <a:gd name="T12" fmla="*/ 0 w 1556"/>
                  <a:gd name="T13" fmla="*/ 0 h 1629"/>
                  <a:gd name="T14" fmla="*/ 0 w 1556"/>
                  <a:gd name="T15" fmla="*/ 0 h 1629"/>
                  <a:gd name="T16" fmla="*/ 0 w 1556"/>
                  <a:gd name="T17" fmla="*/ 1 h 1629"/>
                  <a:gd name="T18" fmla="*/ 0 w 1556"/>
                  <a:gd name="T19" fmla="*/ 0 h 1629"/>
                  <a:gd name="T20" fmla="*/ 0 w 1556"/>
                  <a:gd name="T21" fmla="*/ 0 h 1629"/>
                  <a:gd name="T22" fmla="*/ 0 w 1556"/>
                  <a:gd name="T23" fmla="*/ 0 h 1629"/>
                  <a:gd name="T24" fmla="*/ 0 w 1556"/>
                  <a:gd name="T25" fmla="*/ 0 h 1629"/>
                  <a:gd name="T26" fmla="*/ 0 w 1556"/>
                  <a:gd name="T27" fmla="*/ 0 h 1629"/>
                  <a:gd name="T28" fmla="*/ 1 w 1556"/>
                  <a:gd name="T29" fmla="*/ 0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30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4" name="Freeform 3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488" y="2024"/>
                <a:ext cx="533" cy="465"/>
              </a:xfrm>
              <a:custGeom>
                <a:avLst/>
                <a:gdLst>
                  <a:gd name="T0" fmla="*/ 0 w 1713"/>
                  <a:gd name="T1" fmla="*/ 0 h 1498"/>
                  <a:gd name="T2" fmla="*/ 0 w 1713"/>
                  <a:gd name="T3" fmla="*/ 0 h 1498"/>
                  <a:gd name="T4" fmla="*/ 0 w 1713"/>
                  <a:gd name="T5" fmla="*/ 0 h 1498"/>
                  <a:gd name="T6" fmla="*/ 0 w 1713"/>
                  <a:gd name="T7" fmla="*/ 0 h 1498"/>
                  <a:gd name="T8" fmla="*/ 0 w 1713"/>
                  <a:gd name="T9" fmla="*/ 0 h 1498"/>
                  <a:gd name="T10" fmla="*/ 0 w 1713"/>
                  <a:gd name="T11" fmla="*/ 0 h 1498"/>
                  <a:gd name="T12" fmla="*/ 0 w 1713"/>
                  <a:gd name="T13" fmla="*/ 0 h 1498"/>
                  <a:gd name="T14" fmla="*/ 0 w 1713"/>
                  <a:gd name="T15" fmla="*/ 0 h 1498"/>
                  <a:gd name="T16" fmla="*/ 1 w 1713"/>
                  <a:gd name="T17" fmla="*/ 0 h 1498"/>
                  <a:gd name="T18" fmla="*/ 0 w 1713"/>
                  <a:gd name="T19" fmla="*/ 0 h 1498"/>
                  <a:gd name="T20" fmla="*/ 1 w 1713"/>
                  <a:gd name="T21" fmla="*/ 0 h 1498"/>
                  <a:gd name="T22" fmla="*/ 1 w 1713"/>
                  <a:gd name="T23" fmla="*/ 0 h 1498"/>
                  <a:gd name="T24" fmla="*/ 0 w 1713"/>
                  <a:gd name="T25" fmla="*/ 0 h 1498"/>
                  <a:gd name="T26" fmla="*/ 0 w 1713"/>
                  <a:gd name="T27" fmla="*/ 0 h 1498"/>
                  <a:gd name="T28" fmla="*/ 0 w 1713"/>
                  <a:gd name="T29" fmla="*/ 0 h 1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3"/>
                  <a:gd name="T46" fmla="*/ 0 h 1498"/>
                  <a:gd name="T47" fmla="*/ 1713 w 1713"/>
                  <a:gd name="T48" fmla="*/ 1498 h 1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3" h="1498">
                    <a:moveTo>
                      <a:pt x="857" y="0"/>
                    </a:moveTo>
                    <a:cubicBezTo>
                      <a:pt x="857" y="0"/>
                      <a:pt x="498" y="472"/>
                      <a:pt x="444" y="567"/>
                    </a:cubicBezTo>
                    <a:cubicBezTo>
                      <a:pt x="532" y="548"/>
                      <a:pt x="586" y="597"/>
                      <a:pt x="612" y="638"/>
                    </a:cubicBezTo>
                    <a:cubicBezTo>
                      <a:pt x="638" y="679"/>
                      <a:pt x="646" y="756"/>
                      <a:pt x="601" y="812"/>
                    </a:cubicBezTo>
                    <a:cubicBezTo>
                      <a:pt x="536" y="882"/>
                      <a:pt x="479" y="880"/>
                      <a:pt x="433" y="867"/>
                    </a:cubicBezTo>
                    <a:cubicBezTo>
                      <a:pt x="387" y="854"/>
                      <a:pt x="339" y="809"/>
                      <a:pt x="322" y="735"/>
                    </a:cubicBezTo>
                    <a:cubicBezTo>
                      <a:pt x="269" y="809"/>
                      <a:pt x="161" y="958"/>
                      <a:pt x="0" y="1179"/>
                    </a:cubicBezTo>
                    <a:cubicBezTo>
                      <a:pt x="430" y="1498"/>
                      <a:pt x="909" y="1461"/>
                      <a:pt x="909" y="1461"/>
                    </a:cubicBezTo>
                    <a:cubicBezTo>
                      <a:pt x="909" y="1461"/>
                      <a:pt x="1305" y="1475"/>
                      <a:pt x="1713" y="1177"/>
                    </a:cubicBezTo>
                    <a:cubicBezTo>
                      <a:pt x="1713" y="1177"/>
                      <a:pt x="1450" y="817"/>
                      <a:pt x="1390" y="735"/>
                    </a:cubicBezTo>
                    <a:cubicBezTo>
                      <a:pt x="1485" y="748"/>
                      <a:pt x="1538" y="689"/>
                      <a:pt x="1558" y="652"/>
                    </a:cubicBezTo>
                    <a:cubicBezTo>
                      <a:pt x="1583" y="610"/>
                      <a:pt x="1583" y="540"/>
                      <a:pt x="1546" y="490"/>
                    </a:cubicBezTo>
                    <a:cubicBezTo>
                      <a:pt x="1500" y="440"/>
                      <a:pt x="1466" y="424"/>
                      <a:pt x="1395" y="428"/>
                    </a:cubicBezTo>
                    <a:cubicBezTo>
                      <a:pt x="1343" y="439"/>
                      <a:pt x="1273" y="478"/>
                      <a:pt x="1269" y="567"/>
                    </a:cubicBezTo>
                    <a:cubicBezTo>
                      <a:pt x="1063" y="285"/>
                      <a:pt x="857" y="0"/>
                      <a:pt x="857" y="0"/>
                    </a:cubicBezTo>
                    <a:close/>
                  </a:path>
                </a:pathLst>
              </a:custGeom>
              <a:solidFill>
                <a:srgbClr val="DDDDDD"/>
              </a:solid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5" name="Freeform 36" descr="FOTO 0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755" y="1861"/>
                <a:ext cx="479" cy="529"/>
              </a:xfrm>
              <a:custGeom>
                <a:avLst/>
                <a:gdLst>
                  <a:gd name="T0" fmla="*/ 0 w 1541"/>
                  <a:gd name="T1" fmla="*/ 0 h 1703"/>
                  <a:gd name="T2" fmla="*/ 0 w 1541"/>
                  <a:gd name="T3" fmla="*/ 0 h 1703"/>
                  <a:gd name="T4" fmla="*/ 0 w 1541"/>
                  <a:gd name="T5" fmla="*/ 0 h 1703"/>
                  <a:gd name="T6" fmla="*/ 0 w 1541"/>
                  <a:gd name="T7" fmla="*/ 0 h 1703"/>
                  <a:gd name="T8" fmla="*/ 0 w 1541"/>
                  <a:gd name="T9" fmla="*/ 0 h 1703"/>
                  <a:gd name="T10" fmla="*/ 0 w 1541"/>
                  <a:gd name="T11" fmla="*/ 0 h 1703"/>
                  <a:gd name="T12" fmla="*/ 0 w 1541"/>
                  <a:gd name="T13" fmla="*/ 1 h 1703"/>
                  <a:gd name="T14" fmla="*/ 0 w 1541"/>
                  <a:gd name="T15" fmla="*/ 0 h 1703"/>
                  <a:gd name="T16" fmla="*/ 0 w 1541"/>
                  <a:gd name="T17" fmla="*/ 0 h 1703"/>
                  <a:gd name="T18" fmla="*/ 0 w 1541"/>
                  <a:gd name="T19" fmla="*/ 0 h 1703"/>
                  <a:gd name="T20" fmla="*/ 0 w 1541"/>
                  <a:gd name="T21" fmla="*/ 0 h 1703"/>
                  <a:gd name="T22" fmla="*/ 0 w 1541"/>
                  <a:gd name="T23" fmla="*/ 0 h 1703"/>
                  <a:gd name="T24" fmla="*/ 0 w 1541"/>
                  <a:gd name="T25" fmla="*/ 0 h 1703"/>
                  <a:gd name="T26" fmla="*/ 0 w 1541"/>
                  <a:gd name="T27" fmla="*/ 0 h 1703"/>
                  <a:gd name="T28" fmla="*/ 0 w 1541"/>
                  <a:gd name="T29" fmla="*/ 0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31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6" name="Freeform 37" descr="FOTO 02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70" y="1571"/>
                <a:ext cx="515" cy="453"/>
              </a:xfrm>
              <a:custGeom>
                <a:avLst/>
                <a:gdLst>
                  <a:gd name="T0" fmla="*/ 0 w 1656"/>
                  <a:gd name="T1" fmla="*/ 0 h 1456"/>
                  <a:gd name="T2" fmla="*/ 0 w 1656"/>
                  <a:gd name="T3" fmla="*/ 0 h 1456"/>
                  <a:gd name="T4" fmla="*/ 0 w 1656"/>
                  <a:gd name="T5" fmla="*/ 0 h 1456"/>
                  <a:gd name="T6" fmla="*/ 0 w 1656"/>
                  <a:gd name="T7" fmla="*/ 0 h 1456"/>
                  <a:gd name="T8" fmla="*/ 0 w 1656"/>
                  <a:gd name="T9" fmla="*/ 0 h 1456"/>
                  <a:gd name="T10" fmla="*/ 0 w 1656"/>
                  <a:gd name="T11" fmla="*/ 0 h 1456"/>
                  <a:gd name="T12" fmla="*/ 1 w 1656"/>
                  <a:gd name="T13" fmla="*/ 0 h 1456"/>
                  <a:gd name="T14" fmla="*/ 0 w 1656"/>
                  <a:gd name="T15" fmla="*/ 0 h 1456"/>
                  <a:gd name="T16" fmla="*/ 0 w 1656"/>
                  <a:gd name="T17" fmla="*/ 0 h 1456"/>
                  <a:gd name="T18" fmla="*/ 0 w 1656"/>
                  <a:gd name="T19" fmla="*/ 0 h 1456"/>
                  <a:gd name="T20" fmla="*/ 0 w 1656"/>
                  <a:gd name="T21" fmla="*/ 0 h 1456"/>
                  <a:gd name="T22" fmla="*/ 0 w 1656"/>
                  <a:gd name="T23" fmla="*/ 0 h 1456"/>
                  <a:gd name="T24" fmla="*/ 0 w 1656"/>
                  <a:gd name="T25" fmla="*/ 0 h 1456"/>
                  <a:gd name="T26" fmla="*/ 0 w 1656"/>
                  <a:gd name="T27" fmla="*/ 0 h 1456"/>
                  <a:gd name="T28" fmla="*/ 0 w 1656"/>
                  <a:gd name="T29" fmla="*/ 0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32"/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pic>
            <p:nvPicPr>
              <p:cNvPr id="47" name="Picture 38" descr="MC900434822[1]"/>
              <p:cNvPicPr>
                <a:picLocks noChangeArrowheads="1"/>
              </p:cNvPicPr>
              <p:nvPr>
                <p:custDataLst>
                  <p:tags r:id="rId22"/>
                </p:custDataLst>
              </p:nvPr>
            </p:nvPicPr>
            <p:blipFill>
              <a:blip r:embed="rId33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grayscl/>
              </a:blip>
              <a:srcRect/>
              <a:stretch>
                <a:fillRect/>
              </a:stretch>
            </p:blipFill>
            <p:spPr bwMode="auto">
              <a:xfrm>
                <a:off x="1606" y="2203"/>
                <a:ext cx="294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" name="Group 39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642" y="2068"/>
              <a:ext cx="126" cy="134"/>
              <a:chOff x="1220" y="960"/>
              <a:chExt cx="205" cy="219"/>
            </a:xfrm>
          </p:grpSpPr>
          <p:grpSp>
            <p:nvGrpSpPr>
              <p:cNvPr id="7" name="Group 40"/>
              <p:cNvGrpSpPr>
                <a:grpSpLocks/>
              </p:cNvGrpSpPr>
              <p:nvPr>
                <p:custDataLst>
                  <p:tags r:id="rId15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7" name="Oval 4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8" name="Oval 4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9" name="Oval 4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0" name="Oval 44"/>
                <p:cNvSpPr>
                  <a:spLocks noChangeArrowheads="1"/>
                </p:cNvSpPr>
                <p:nvPr/>
              </p:nvSpPr>
              <p:spPr bwMode="gray">
                <a:xfrm>
                  <a:off x="67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6" name="Rectangle 45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8" name="Group 46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634" y="2068"/>
              <a:ext cx="126" cy="134"/>
              <a:chOff x="1220" y="960"/>
              <a:chExt cx="205" cy="219"/>
            </a:xfrm>
          </p:grpSpPr>
          <p:grpSp>
            <p:nvGrpSpPr>
              <p:cNvPr id="9" name="Group 47"/>
              <p:cNvGrpSpPr>
                <a:grpSpLocks/>
              </p:cNvGrpSpPr>
              <p:nvPr>
                <p:custDataLst>
                  <p:tags r:id="rId13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1" name="Oval 48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2" name="Oval 49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3" name="Oval 50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4" name="Oval 51"/>
                <p:cNvSpPr>
                  <a:spLocks noChangeArrowheads="1"/>
                </p:cNvSpPr>
                <p:nvPr/>
              </p:nvSpPr>
              <p:spPr bwMode="gray">
                <a:xfrm>
                  <a:off x="69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0" name="Rectangle 52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10" name="Group 53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1324" y="2998"/>
              <a:ext cx="125" cy="134"/>
              <a:chOff x="1220" y="960"/>
              <a:chExt cx="205" cy="219"/>
            </a:xfrm>
          </p:grpSpPr>
          <p:grpSp>
            <p:nvGrpSpPr>
              <p:cNvPr id="11" name="Group 54"/>
              <p:cNvGrpSpPr>
                <a:grpSpLocks/>
              </p:cNvGrpSpPr>
              <p:nvPr>
                <p:custDataLst>
                  <p:tags r:id="rId11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25" name="Oval 55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6" name="Oval 56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7" name="Oval 57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8" name="Oval 58"/>
                <p:cNvSpPr>
                  <a:spLocks noChangeArrowheads="1"/>
                </p:cNvSpPr>
                <p:nvPr/>
              </p:nvSpPr>
              <p:spPr bwMode="gray">
                <a:xfrm>
                  <a:off x="63" y="1358"/>
                  <a:ext cx="668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24" name="Rectangle 59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 flipH="1">
                <a:off x="1277" y="960"/>
                <a:ext cx="102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grpSp>
          <p:nvGrpSpPr>
            <p:cNvPr id="17" name="Group 60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2949" y="2998"/>
              <a:ext cx="126" cy="134"/>
              <a:chOff x="1220" y="960"/>
              <a:chExt cx="205" cy="219"/>
            </a:xfrm>
          </p:grpSpPr>
          <p:grpSp>
            <p:nvGrpSpPr>
              <p:cNvPr id="23" name="Group 61"/>
              <p:cNvGrpSpPr>
                <a:grpSpLocks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9" name="Oval 62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0" name="Oval 63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1" name="Oval 64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2" name="Oval 65"/>
                <p:cNvSpPr>
                  <a:spLocks noChangeArrowheads="1"/>
                </p:cNvSpPr>
                <p:nvPr/>
              </p:nvSpPr>
              <p:spPr bwMode="gray">
                <a:xfrm>
                  <a:off x="62" y="1358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8" name="Rectangle 66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grpSp>
          <p:nvGrpSpPr>
            <p:cNvPr id="29" name="Group 67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2138" y="3591"/>
              <a:ext cx="125" cy="133"/>
              <a:chOff x="1220" y="960"/>
              <a:chExt cx="205" cy="217"/>
            </a:xfrm>
          </p:grpSpPr>
          <p:grpSp>
            <p:nvGrpSpPr>
              <p:cNvPr id="35" name="Group 68"/>
              <p:cNvGrpSpPr>
                <a:grpSpLocks/>
              </p:cNvGrpSpPr>
              <p:nvPr>
                <p:custDataLst>
                  <p:tags r:id="rId7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3" name="Oval 69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4" name="Oval 70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5" name="Oval 71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6" name="Oval 72"/>
                <p:cNvSpPr>
                  <a:spLocks noChangeArrowheads="1"/>
                </p:cNvSpPr>
                <p:nvPr/>
              </p:nvSpPr>
              <p:spPr bwMode="gray">
                <a:xfrm>
                  <a:off x="63" y="1361"/>
                  <a:ext cx="668" cy="583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2" name="Rectangle 73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flipH="1">
                <a:off x="1277" y="960"/>
                <a:ext cx="10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sp>
        <p:nvSpPr>
          <p:cNvPr id="53" name="CaixaDeTexto 75"/>
          <p:cNvSpPr txBox="1">
            <a:spLocks noChangeArrowheads="1"/>
          </p:cNvSpPr>
          <p:nvPr/>
        </p:nvSpPr>
        <p:spPr bwMode="auto">
          <a:xfrm>
            <a:off x="965798" y="994882"/>
            <a:ext cx="77422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Macroestratégias</a:t>
            </a:r>
          </a:p>
        </p:txBody>
      </p:sp>
      <p:sp>
        <p:nvSpPr>
          <p:cNvPr id="54" name="Seta para a direita 53"/>
          <p:cNvSpPr/>
          <p:nvPr/>
        </p:nvSpPr>
        <p:spPr>
          <a:xfrm>
            <a:off x="7643813" y="5715000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55" name="Rectangle 14"/>
          <p:cNvSpPr>
            <a:spLocks noChangeArrowheads="1"/>
          </p:cNvSpPr>
          <p:nvPr/>
        </p:nvSpPr>
        <p:spPr bwMode="auto">
          <a:xfrm>
            <a:off x="3268325" y="1755650"/>
            <a:ext cx="5439710" cy="4062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3300" b="1" dirty="0">
                <a:latin typeface="Tahoma" pitchFamily="34" charset="0"/>
                <a:cs typeface="Tahoma" pitchFamily="34" charset="0"/>
              </a:rPr>
              <a:t>da formação das equipes para vencer o desafio da gestão pedagógica multidisciplinar, da redução das taxas de abandono e aproximação da escola à realidade dos joven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1660987" y="3763019"/>
            <a:ext cx="2447925" cy="20955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>
              <a:defRPr/>
            </a:pPr>
            <a:endParaRPr lang="pt-BR" dirty="0">
              <a:cs typeface="+mn-cs"/>
            </a:endParaRPr>
          </a:p>
        </p:txBody>
      </p:sp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908764" y="2911472"/>
            <a:ext cx="1831599" cy="1827066"/>
            <a:chOff x="1243" y="1854"/>
            <a:chExt cx="1912" cy="1908"/>
          </a:xfrm>
        </p:grpSpPr>
        <p:grpSp>
          <p:nvGrpSpPr>
            <p:cNvPr id="4" name="Group 26"/>
            <p:cNvGrpSpPr>
              <a:grpSpLocks/>
            </p:cNvGrpSpPr>
            <p:nvPr/>
          </p:nvGrpSpPr>
          <p:grpSpPr bwMode="auto">
            <a:xfrm>
              <a:off x="1239" y="1856"/>
              <a:ext cx="1908" cy="1909"/>
              <a:chOff x="1242" y="1510"/>
              <a:chExt cx="1023" cy="1021"/>
            </a:xfrm>
          </p:grpSpPr>
          <p:grpSp>
            <p:nvGrpSpPr>
              <p:cNvPr id="5" name="Group 27"/>
              <p:cNvGrpSpPr>
                <a:grpSpLocks/>
              </p:cNvGrpSpPr>
              <p:nvPr/>
            </p:nvGrpSpPr>
            <p:grpSpPr bwMode="auto">
              <a:xfrm>
                <a:off x="1242" y="1510"/>
                <a:ext cx="1023" cy="1021"/>
                <a:chOff x="1242" y="1510"/>
                <a:chExt cx="1023" cy="1021"/>
              </a:xfrm>
            </p:grpSpPr>
            <p:sp>
              <p:nvSpPr>
                <p:cNvPr id="48" name="Freeform 28"/>
                <p:cNvSpPr>
                  <a:spLocks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1754" y="1510"/>
                  <a:ext cx="484" cy="513"/>
                </a:xfrm>
                <a:custGeom>
                  <a:avLst/>
                  <a:gdLst>
                    <a:gd name="T0" fmla="*/ 759055 w 142"/>
                    <a:gd name="T1" fmla="*/ 563380 h 150"/>
                    <a:gd name="T2" fmla="*/ 0 w 142"/>
                    <a:gd name="T3" fmla="*/ 4644 h 150"/>
                    <a:gd name="T4" fmla="*/ 0 w 142"/>
                    <a:gd name="T5" fmla="*/ 4644 h 150"/>
                    <a:gd name="T6" fmla="*/ 0 w 142"/>
                    <a:gd name="T7" fmla="*/ 820714 h 150"/>
                    <a:gd name="T8" fmla="*/ 759055 w 142"/>
                    <a:gd name="T9" fmla="*/ 563380 h 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2"/>
                    <a:gd name="T16" fmla="*/ 0 h 150"/>
                    <a:gd name="T17" fmla="*/ 142 w 142"/>
                    <a:gd name="T18" fmla="*/ 150 h 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2" h="150">
                      <a:moveTo>
                        <a:pt x="142" y="103"/>
                      </a:moveTo>
                      <a:cubicBezTo>
                        <a:pt x="122" y="42"/>
                        <a:pt x="65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42" y="103"/>
                      </a:lnTo>
                      <a:close/>
                    </a:path>
                  </a:pathLst>
                </a:custGeom>
                <a:solidFill>
                  <a:srgbClr val="FF9900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995C00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9" name="Freeform 29"/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1754" y="1862"/>
                  <a:ext cx="511" cy="573"/>
                </a:xfrm>
                <a:custGeom>
                  <a:avLst/>
                  <a:gdLst>
                    <a:gd name="T0" fmla="*/ 468972 w 150"/>
                    <a:gd name="T1" fmla="*/ 901929 h 168"/>
                    <a:gd name="T2" fmla="*/ 798822 w 150"/>
                    <a:gd name="T3" fmla="*/ 251980 h 168"/>
                    <a:gd name="T4" fmla="*/ 756672 w 150"/>
                    <a:gd name="T5" fmla="*/ 0 h 168"/>
                    <a:gd name="T6" fmla="*/ 0 w 150"/>
                    <a:gd name="T7" fmla="*/ 251980 h 168"/>
                    <a:gd name="T8" fmla="*/ 468972 w 150"/>
                    <a:gd name="T9" fmla="*/ 901929 h 1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8"/>
                    <a:gd name="T17" fmla="*/ 150 w 150"/>
                    <a:gd name="T18" fmla="*/ 168 h 1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8">
                      <a:moveTo>
                        <a:pt x="88" y="168"/>
                      </a:moveTo>
                      <a:cubicBezTo>
                        <a:pt x="127" y="140"/>
                        <a:pt x="150" y="95"/>
                        <a:pt x="150" y="47"/>
                      </a:cubicBezTo>
                      <a:cubicBezTo>
                        <a:pt x="150" y="31"/>
                        <a:pt x="147" y="15"/>
                        <a:pt x="142" y="0"/>
                      </a:cubicBezTo>
                      <a:lnTo>
                        <a:pt x="0" y="47"/>
                      </a:lnTo>
                      <a:lnTo>
                        <a:pt x="88" y="168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0" name="Freeform 30"/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1454" y="2023"/>
                  <a:ext cx="599" cy="508"/>
                </a:xfrm>
                <a:custGeom>
                  <a:avLst/>
                  <a:gdLst>
                    <a:gd name="T0" fmla="*/ 0 w 176"/>
                    <a:gd name="T1" fmla="*/ 642214 h 149"/>
                    <a:gd name="T2" fmla="*/ 466247 w 176"/>
                    <a:gd name="T3" fmla="*/ 797846 h 149"/>
                    <a:gd name="T4" fmla="*/ 931163 w 176"/>
                    <a:gd name="T5" fmla="*/ 648559 h 149"/>
                    <a:gd name="T6" fmla="*/ 466247 w 176"/>
                    <a:gd name="T7" fmla="*/ 0 h 149"/>
                    <a:gd name="T8" fmla="*/ 0 w 176"/>
                    <a:gd name="T9" fmla="*/ 642214 h 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6"/>
                    <a:gd name="T16" fmla="*/ 0 h 149"/>
                    <a:gd name="T17" fmla="*/ 176 w 176"/>
                    <a:gd name="T18" fmla="*/ 149 h 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6" h="149">
                      <a:moveTo>
                        <a:pt x="0" y="120"/>
                      </a:moveTo>
                      <a:cubicBezTo>
                        <a:pt x="25" y="139"/>
                        <a:pt x="56" y="149"/>
                        <a:pt x="88" y="149"/>
                      </a:cubicBezTo>
                      <a:cubicBezTo>
                        <a:pt x="120" y="149"/>
                        <a:pt x="150" y="140"/>
                        <a:pt x="176" y="121"/>
                      </a:cubicBezTo>
                      <a:lnTo>
                        <a:pt x="88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1" name="Freeform 31"/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1242" y="1865"/>
                  <a:ext cx="512" cy="567"/>
                </a:xfrm>
                <a:custGeom>
                  <a:avLst/>
                  <a:gdLst>
                    <a:gd name="T0" fmla="*/ 42629 w 150"/>
                    <a:gd name="T1" fmla="*/ 0 h 166"/>
                    <a:gd name="T2" fmla="*/ 4615 w 150"/>
                    <a:gd name="T3" fmla="*/ 249224 h 166"/>
                    <a:gd name="T4" fmla="*/ 335404 w 150"/>
                    <a:gd name="T5" fmla="*/ 900522 h 166"/>
                    <a:gd name="T6" fmla="*/ 809957 w 150"/>
                    <a:gd name="T7" fmla="*/ 249224 h 166"/>
                    <a:gd name="T8" fmla="*/ 42629 w 150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6"/>
                    <a:gd name="T17" fmla="*/ 150 w 150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6">
                      <a:moveTo>
                        <a:pt x="8" y="0"/>
                      </a:moveTo>
                      <a:cubicBezTo>
                        <a:pt x="3" y="15"/>
                        <a:pt x="1" y="30"/>
                        <a:pt x="1" y="46"/>
                      </a:cubicBezTo>
                      <a:cubicBezTo>
                        <a:pt x="0" y="94"/>
                        <a:pt x="23" y="138"/>
                        <a:pt x="62" y="166"/>
                      </a:cubicBezTo>
                      <a:lnTo>
                        <a:pt x="150" y="4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2" name="Freeform 32"/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1269" y="1513"/>
                  <a:ext cx="485" cy="510"/>
                </a:xfrm>
                <a:custGeom>
                  <a:avLst/>
                  <a:gdLst>
                    <a:gd name="T0" fmla="*/ 770105 w 142"/>
                    <a:gd name="T1" fmla="*/ 0 h 149"/>
                    <a:gd name="T2" fmla="*/ 0 w 142"/>
                    <a:gd name="T3" fmla="*/ 567544 h 149"/>
                    <a:gd name="T4" fmla="*/ 770105 w 142"/>
                    <a:gd name="T5" fmla="*/ 820261 h 149"/>
                    <a:gd name="T6" fmla="*/ 770105 w 142"/>
                    <a:gd name="T7" fmla="*/ 0 h 1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2"/>
                    <a:gd name="T13" fmla="*/ 0 h 149"/>
                    <a:gd name="T14" fmla="*/ 142 w 142"/>
                    <a:gd name="T15" fmla="*/ 149 h 1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2" h="149">
                      <a:moveTo>
                        <a:pt x="142" y="0"/>
                      </a:moveTo>
                      <a:cubicBezTo>
                        <a:pt x="77" y="0"/>
                        <a:pt x="20" y="41"/>
                        <a:pt x="0" y="103"/>
                      </a:cubicBezTo>
                      <a:lnTo>
                        <a:pt x="142" y="14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</p:grpSp>
          <p:sp>
            <p:nvSpPr>
              <p:cNvPr id="42" name="Freeform 33" descr="FOTO 01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324" y="1571"/>
                <a:ext cx="431" cy="461"/>
              </a:xfrm>
              <a:custGeom>
                <a:avLst/>
                <a:gdLst>
                  <a:gd name="T0" fmla="*/ 0 w 1385"/>
                  <a:gd name="T1" fmla="*/ 0 h 1485"/>
                  <a:gd name="T2" fmla="*/ 0 w 1385"/>
                  <a:gd name="T3" fmla="*/ 0 h 1485"/>
                  <a:gd name="T4" fmla="*/ 0 w 1385"/>
                  <a:gd name="T5" fmla="*/ 0 h 1485"/>
                  <a:gd name="T6" fmla="*/ 0 w 1385"/>
                  <a:gd name="T7" fmla="*/ 0 h 1485"/>
                  <a:gd name="T8" fmla="*/ 0 w 1385"/>
                  <a:gd name="T9" fmla="*/ 0 h 1485"/>
                  <a:gd name="T10" fmla="*/ 0 w 1385"/>
                  <a:gd name="T11" fmla="*/ 0 h 1485"/>
                  <a:gd name="T12" fmla="*/ 0 w 1385"/>
                  <a:gd name="T13" fmla="*/ 0 h 1485"/>
                  <a:gd name="T14" fmla="*/ 0 w 1385"/>
                  <a:gd name="T15" fmla="*/ 0 h 1485"/>
                  <a:gd name="T16" fmla="*/ 0 w 1385"/>
                  <a:gd name="T17" fmla="*/ 0 h 1485"/>
                  <a:gd name="T18" fmla="*/ 0 w 1385"/>
                  <a:gd name="T19" fmla="*/ 0 h 1485"/>
                  <a:gd name="T20" fmla="*/ 0 w 1385"/>
                  <a:gd name="T21" fmla="*/ 0 h 1485"/>
                  <a:gd name="T22" fmla="*/ 0 w 1385"/>
                  <a:gd name="T23" fmla="*/ 0 h 1485"/>
                  <a:gd name="T24" fmla="*/ 0 w 1385"/>
                  <a:gd name="T25" fmla="*/ 0 h 1485"/>
                  <a:gd name="T26" fmla="*/ 0 w 1385"/>
                  <a:gd name="T27" fmla="*/ 0 h 1485"/>
                  <a:gd name="T28" fmla="*/ 0 w 1385"/>
                  <a:gd name="T29" fmla="*/ 0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29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3" name="Freeform 34" descr="FOTO 05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271" y="1884"/>
                <a:ext cx="484" cy="507"/>
              </a:xfrm>
              <a:custGeom>
                <a:avLst/>
                <a:gdLst>
                  <a:gd name="T0" fmla="*/ 1 w 1556"/>
                  <a:gd name="T1" fmla="*/ 0 h 1629"/>
                  <a:gd name="T2" fmla="*/ 0 w 1556"/>
                  <a:gd name="T3" fmla="*/ 0 h 1629"/>
                  <a:gd name="T4" fmla="*/ 0 w 1556"/>
                  <a:gd name="T5" fmla="*/ 0 h 1629"/>
                  <a:gd name="T6" fmla="*/ 0 w 1556"/>
                  <a:gd name="T7" fmla="*/ 0 h 1629"/>
                  <a:gd name="T8" fmla="*/ 0 w 1556"/>
                  <a:gd name="T9" fmla="*/ 0 h 1629"/>
                  <a:gd name="T10" fmla="*/ 0 w 1556"/>
                  <a:gd name="T11" fmla="*/ 0 h 1629"/>
                  <a:gd name="T12" fmla="*/ 0 w 1556"/>
                  <a:gd name="T13" fmla="*/ 0 h 1629"/>
                  <a:gd name="T14" fmla="*/ 0 w 1556"/>
                  <a:gd name="T15" fmla="*/ 0 h 1629"/>
                  <a:gd name="T16" fmla="*/ 0 w 1556"/>
                  <a:gd name="T17" fmla="*/ 1 h 1629"/>
                  <a:gd name="T18" fmla="*/ 0 w 1556"/>
                  <a:gd name="T19" fmla="*/ 0 h 1629"/>
                  <a:gd name="T20" fmla="*/ 0 w 1556"/>
                  <a:gd name="T21" fmla="*/ 0 h 1629"/>
                  <a:gd name="T22" fmla="*/ 0 w 1556"/>
                  <a:gd name="T23" fmla="*/ 0 h 1629"/>
                  <a:gd name="T24" fmla="*/ 0 w 1556"/>
                  <a:gd name="T25" fmla="*/ 0 h 1629"/>
                  <a:gd name="T26" fmla="*/ 0 w 1556"/>
                  <a:gd name="T27" fmla="*/ 0 h 1629"/>
                  <a:gd name="T28" fmla="*/ 1 w 1556"/>
                  <a:gd name="T29" fmla="*/ 0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30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4" name="Freeform 3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488" y="2024"/>
                <a:ext cx="533" cy="465"/>
              </a:xfrm>
              <a:custGeom>
                <a:avLst/>
                <a:gdLst>
                  <a:gd name="T0" fmla="*/ 0 w 1713"/>
                  <a:gd name="T1" fmla="*/ 0 h 1498"/>
                  <a:gd name="T2" fmla="*/ 0 w 1713"/>
                  <a:gd name="T3" fmla="*/ 0 h 1498"/>
                  <a:gd name="T4" fmla="*/ 0 w 1713"/>
                  <a:gd name="T5" fmla="*/ 0 h 1498"/>
                  <a:gd name="T6" fmla="*/ 0 w 1713"/>
                  <a:gd name="T7" fmla="*/ 0 h 1498"/>
                  <a:gd name="T8" fmla="*/ 0 w 1713"/>
                  <a:gd name="T9" fmla="*/ 0 h 1498"/>
                  <a:gd name="T10" fmla="*/ 0 w 1713"/>
                  <a:gd name="T11" fmla="*/ 0 h 1498"/>
                  <a:gd name="T12" fmla="*/ 0 w 1713"/>
                  <a:gd name="T13" fmla="*/ 0 h 1498"/>
                  <a:gd name="T14" fmla="*/ 0 w 1713"/>
                  <a:gd name="T15" fmla="*/ 0 h 1498"/>
                  <a:gd name="T16" fmla="*/ 1 w 1713"/>
                  <a:gd name="T17" fmla="*/ 0 h 1498"/>
                  <a:gd name="T18" fmla="*/ 0 w 1713"/>
                  <a:gd name="T19" fmla="*/ 0 h 1498"/>
                  <a:gd name="T20" fmla="*/ 1 w 1713"/>
                  <a:gd name="T21" fmla="*/ 0 h 1498"/>
                  <a:gd name="T22" fmla="*/ 1 w 1713"/>
                  <a:gd name="T23" fmla="*/ 0 h 1498"/>
                  <a:gd name="T24" fmla="*/ 0 w 1713"/>
                  <a:gd name="T25" fmla="*/ 0 h 1498"/>
                  <a:gd name="T26" fmla="*/ 0 w 1713"/>
                  <a:gd name="T27" fmla="*/ 0 h 1498"/>
                  <a:gd name="T28" fmla="*/ 0 w 1713"/>
                  <a:gd name="T29" fmla="*/ 0 h 1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3"/>
                  <a:gd name="T46" fmla="*/ 0 h 1498"/>
                  <a:gd name="T47" fmla="*/ 1713 w 1713"/>
                  <a:gd name="T48" fmla="*/ 1498 h 1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3" h="1498">
                    <a:moveTo>
                      <a:pt x="857" y="0"/>
                    </a:moveTo>
                    <a:cubicBezTo>
                      <a:pt x="857" y="0"/>
                      <a:pt x="498" y="472"/>
                      <a:pt x="444" y="567"/>
                    </a:cubicBezTo>
                    <a:cubicBezTo>
                      <a:pt x="532" y="548"/>
                      <a:pt x="586" y="597"/>
                      <a:pt x="612" y="638"/>
                    </a:cubicBezTo>
                    <a:cubicBezTo>
                      <a:pt x="638" y="679"/>
                      <a:pt x="646" y="756"/>
                      <a:pt x="601" y="812"/>
                    </a:cubicBezTo>
                    <a:cubicBezTo>
                      <a:pt x="536" y="882"/>
                      <a:pt x="479" y="880"/>
                      <a:pt x="433" y="867"/>
                    </a:cubicBezTo>
                    <a:cubicBezTo>
                      <a:pt x="387" y="854"/>
                      <a:pt x="339" y="809"/>
                      <a:pt x="322" y="735"/>
                    </a:cubicBezTo>
                    <a:cubicBezTo>
                      <a:pt x="269" y="809"/>
                      <a:pt x="161" y="958"/>
                      <a:pt x="0" y="1179"/>
                    </a:cubicBezTo>
                    <a:cubicBezTo>
                      <a:pt x="430" y="1498"/>
                      <a:pt x="909" y="1461"/>
                      <a:pt x="909" y="1461"/>
                    </a:cubicBezTo>
                    <a:cubicBezTo>
                      <a:pt x="909" y="1461"/>
                      <a:pt x="1305" y="1475"/>
                      <a:pt x="1713" y="1177"/>
                    </a:cubicBezTo>
                    <a:cubicBezTo>
                      <a:pt x="1713" y="1177"/>
                      <a:pt x="1450" y="817"/>
                      <a:pt x="1390" y="735"/>
                    </a:cubicBezTo>
                    <a:cubicBezTo>
                      <a:pt x="1485" y="748"/>
                      <a:pt x="1538" y="689"/>
                      <a:pt x="1558" y="652"/>
                    </a:cubicBezTo>
                    <a:cubicBezTo>
                      <a:pt x="1583" y="610"/>
                      <a:pt x="1583" y="540"/>
                      <a:pt x="1546" y="490"/>
                    </a:cubicBezTo>
                    <a:cubicBezTo>
                      <a:pt x="1500" y="440"/>
                      <a:pt x="1466" y="424"/>
                      <a:pt x="1395" y="428"/>
                    </a:cubicBezTo>
                    <a:cubicBezTo>
                      <a:pt x="1343" y="439"/>
                      <a:pt x="1273" y="478"/>
                      <a:pt x="1269" y="567"/>
                    </a:cubicBezTo>
                    <a:cubicBezTo>
                      <a:pt x="1063" y="285"/>
                      <a:pt x="857" y="0"/>
                      <a:pt x="857" y="0"/>
                    </a:cubicBezTo>
                    <a:close/>
                  </a:path>
                </a:pathLst>
              </a:custGeom>
              <a:solidFill>
                <a:srgbClr val="DDDDDD"/>
              </a:solid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5" name="Freeform 36" descr="FOTO 0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755" y="1861"/>
                <a:ext cx="479" cy="529"/>
              </a:xfrm>
              <a:custGeom>
                <a:avLst/>
                <a:gdLst>
                  <a:gd name="T0" fmla="*/ 0 w 1541"/>
                  <a:gd name="T1" fmla="*/ 0 h 1703"/>
                  <a:gd name="T2" fmla="*/ 0 w 1541"/>
                  <a:gd name="T3" fmla="*/ 0 h 1703"/>
                  <a:gd name="T4" fmla="*/ 0 w 1541"/>
                  <a:gd name="T5" fmla="*/ 0 h 1703"/>
                  <a:gd name="T6" fmla="*/ 0 w 1541"/>
                  <a:gd name="T7" fmla="*/ 0 h 1703"/>
                  <a:gd name="T8" fmla="*/ 0 w 1541"/>
                  <a:gd name="T9" fmla="*/ 0 h 1703"/>
                  <a:gd name="T10" fmla="*/ 0 w 1541"/>
                  <a:gd name="T11" fmla="*/ 0 h 1703"/>
                  <a:gd name="T12" fmla="*/ 0 w 1541"/>
                  <a:gd name="T13" fmla="*/ 1 h 1703"/>
                  <a:gd name="T14" fmla="*/ 0 w 1541"/>
                  <a:gd name="T15" fmla="*/ 0 h 1703"/>
                  <a:gd name="T16" fmla="*/ 0 w 1541"/>
                  <a:gd name="T17" fmla="*/ 0 h 1703"/>
                  <a:gd name="T18" fmla="*/ 0 w 1541"/>
                  <a:gd name="T19" fmla="*/ 0 h 1703"/>
                  <a:gd name="T20" fmla="*/ 0 w 1541"/>
                  <a:gd name="T21" fmla="*/ 0 h 1703"/>
                  <a:gd name="T22" fmla="*/ 0 w 1541"/>
                  <a:gd name="T23" fmla="*/ 0 h 1703"/>
                  <a:gd name="T24" fmla="*/ 0 w 1541"/>
                  <a:gd name="T25" fmla="*/ 0 h 1703"/>
                  <a:gd name="T26" fmla="*/ 0 w 1541"/>
                  <a:gd name="T27" fmla="*/ 0 h 1703"/>
                  <a:gd name="T28" fmla="*/ 0 w 1541"/>
                  <a:gd name="T29" fmla="*/ 0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31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6" name="Freeform 37" descr="FOTO 02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70" y="1571"/>
                <a:ext cx="515" cy="453"/>
              </a:xfrm>
              <a:custGeom>
                <a:avLst/>
                <a:gdLst>
                  <a:gd name="T0" fmla="*/ 0 w 1656"/>
                  <a:gd name="T1" fmla="*/ 0 h 1456"/>
                  <a:gd name="T2" fmla="*/ 0 w 1656"/>
                  <a:gd name="T3" fmla="*/ 0 h 1456"/>
                  <a:gd name="T4" fmla="*/ 0 w 1656"/>
                  <a:gd name="T5" fmla="*/ 0 h 1456"/>
                  <a:gd name="T6" fmla="*/ 0 w 1656"/>
                  <a:gd name="T7" fmla="*/ 0 h 1456"/>
                  <a:gd name="T8" fmla="*/ 0 w 1656"/>
                  <a:gd name="T9" fmla="*/ 0 h 1456"/>
                  <a:gd name="T10" fmla="*/ 0 w 1656"/>
                  <a:gd name="T11" fmla="*/ 0 h 1456"/>
                  <a:gd name="T12" fmla="*/ 1 w 1656"/>
                  <a:gd name="T13" fmla="*/ 0 h 1456"/>
                  <a:gd name="T14" fmla="*/ 0 w 1656"/>
                  <a:gd name="T15" fmla="*/ 0 h 1456"/>
                  <a:gd name="T16" fmla="*/ 0 w 1656"/>
                  <a:gd name="T17" fmla="*/ 0 h 1456"/>
                  <a:gd name="T18" fmla="*/ 0 w 1656"/>
                  <a:gd name="T19" fmla="*/ 0 h 1456"/>
                  <a:gd name="T20" fmla="*/ 0 w 1656"/>
                  <a:gd name="T21" fmla="*/ 0 h 1456"/>
                  <a:gd name="T22" fmla="*/ 0 w 1656"/>
                  <a:gd name="T23" fmla="*/ 0 h 1456"/>
                  <a:gd name="T24" fmla="*/ 0 w 1656"/>
                  <a:gd name="T25" fmla="*/ 0 h 1456"/>
                  <a:gd name="T26" fmla="*/ 0 w 1656"/>
                  <a:gd name="T27" fmla="*/ 0 h 1456"/>
                  <a:gd name="T28" fmla="*/ 0 w 1656"/>
                  <a:gd name="T29" fmla="*/ 0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32"/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pic>
            <p:nvPicPr>
              <p:cNvPr id="47" name="Picture 38" descr="MC900434822[1]"/>
              <p:cNvPicPr>
                <a:picLocks noChangeArrowheads="1"/>
              </p:cNvPicPr>
              <p:nvPr>
                <p:custDataLst>
                  <p:tags r:id="rId22"/>
                </p:custDataLst>
              </p:nvPr>
            </p:nvPicPr>
            <p:blipFill>
              <a:blip r:embed="rId33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grayscl/>
              </a:blip>
              <a:srcRect/>
              <a:stretch>
                <a:fillRect/>
              </a:stretch>
            </p:blipFill>
            <p:spPr bwMode="auto">
              <a:xfrm>
                <a:off x="1606" y="2203"/>
                <a:ext cx="294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" name="Group 39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642" y="2068"/>
              <a:ext cx="126" cy="134"/>
              <a:chOff x="1220" y="960"/>
              <a:chExt cx="205" cy="219"/>
            </a:xfrm>
          </p:grpSpPr>
          <p:grpSp>
            <p:nvGrpSpPr>
              <p:cNvPr id="7" name="Group 40"/>
              <p:cNvGrpSpPr>
                <a:grpSpLocks/>
              </p:cNvGrpSpPr>
              <p:nvPr>
                <p:custDataLst>
                  <p:tags r:id="rId15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7" name="Oval 4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8" name="Oval 4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9" name="Oval 4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0" name="Oval 44"/>
                <p:cNvSpPr>
                  <a:spLocks noChangeArrowheads="1"/>
                </p:cNvSpPr>
                <p:nvPr/>
              </p:nvSpPr>
              <p:spPr bwMode="gray">
                <a:xfrm>
                  <a:off x="67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6" name="Rectangle 45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8" name="Group 46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634" y="2068"/>
              <a:ext cx="126" cy="134"/>
              <a:chOff x="1220" y="960"/>
              <a:chExt cx="205" cy="219"/>
            </a:xfrm>
          </p:grpSpPr>
          <p:grpSp>
            <p:nvGrpSpPr>
              <p:cNvPr id="9" name="Group 47"/>
              <p:cNvGrpSpPr>
                <a:grpSpLocks/>
              </p:cNvGrpSpPr>
              <p:nvPr>
                <p:custDataLst>
                  <p:tags r:id="rId13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1" name="Oval 48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2" name="Oval 49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3" name="Oval 50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4" name="Oval 51"/>
                <p:cNvSpPr>
                  <a:spLocks noChangeArrowheads="1"/>
                </p:cNvSpPr>
                <p:nvPr/>
              </p:nvSpPr>
              <p:spPr bwMode="gray">
                <a:xfrm>
                  <a:off x="69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0" name="Rectangle 52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10" name="Group 53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1324" y="2998"/>
              <a:ext cx="125" cy="134"/>
              <a:chOff x="1220" y="960"/>
              <a:chExt cx="205" cy="219"/>
            </a:xfrm>
          </p:grpSpPr>
          <p:grpSp>
            <p:nvGrpSpPr>
              <p:cNvPr id="11" name="Group 54"/>
              <p:cNvGrpSpPr>
                <a:grpSpLocks/>
              </p:cNvGrpSpPr>
              <p:nvPr>
                <p:custDataLst>
                  <p:tags r:id="rId11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25" name="Oval 55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6" name="Oval 56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7" name="Oval 57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8" name="Oval 58"/>
                <p:cNvSpPr>
                  <a:spLocks noChangeArrowheads="1"/>
                </p:cNvSpPr>
                <p:nvPr/>
              </p:nvSpPr>
              <p:spPr bwMode="gray">
                <a:xfrm>
                  <a:off x="63" y="1358"/>
                  <a:ext cx="668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24" name="Rectangle 59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 flipH="1">
                <a:off x="1277" y="960"/>
                <a:ext cx="102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grpSp>
          <p:nvGrpSpPr>
            <p:cNvPr id="17" name="Group 60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2949" y="2998"/>
              <a:ext cx="126" cy="134"/>
              <a:chOff x="1220" y="960"/>
              <a:chExt cx="205" cy="219"/>
            </a:xfrm>
          </p:grpSpPr>
          <p:grpSp>
            <p:nvGrpSpPr>
              <p:cNvPr id="23" name="Group 61"/>
              <p:cNvGrpSpPr>
                <a:grpSpLocks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9" name="Oval 62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0" name="Oval 63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1" name="Oval 64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2" name="Oval 65"/>
                <p:cNvSpPr>
                  <a:spLocks noChangeArrowheads="1"/>
                </p:cNvSpPr>
                <p:nvPr/>
              </p:nvSpPr>
              <p:spPr bwMode="gray">
                <a:xfrm>
                  <a:off x="62" y="1358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8" name="Rectangle 66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grpSp>
          <p:nvGrpSpPr>
            <p:cNvPr id="29" name="Group 67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2138" y="3591"/>
              <a:ext cx="125" cy="133"/>
              <a:chOff x="1220" y="960"/>
              <a:chExt cx="205" cy="217"/>
            </a:xfrm>
          </p:grpSpPr>
          <p:grpSp>
            <p:nvGrpSpPr>
              <p:cNvPr id="35" name="Group 68"/>
              <p:cNvGrpSpPr>
                <a:grpSpLocks/>
              </p:cNvGrpSpPr>
              <p:nvPr>
                <p:custDataLst>
                  <p:tags r:id="rId7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3" name="Oval 69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4" name="Oval 70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5" name="Oval 71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6" name="Oval 72"/>
                <p:cNvSpPr>
                  <a:spLocks noChangeArrowheads="1"/>
                </p:cNvSpPr>
                <p:nvPr/>
              </p:nvSpPr>
              <p:spPr bwMode="gray">
                <a:xfrm>
                  <a:off x="63" y="1361"/>
                  <a:ext cx="668" cy="583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2" name="Rectangle 73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flipH="1">
                <a:off x="1277" y="960"/>
                <a:ext cx="10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sp>
        <p:nvSpPr>
          <p:cNvPr id="53" name="CaixaDeTexto 75"/>
          <p:cNvSpPr txBox="1">
            <a:spLocks noChangeArrowheads="1"/>
          </p:cNvSpPr>
          <p:nvPr/>
        </p:nvSpPr>
        <p:spPr bwMode="auto">
          <a:xfrm>
            <a:off x="965798" y="1562057"/>
            <a:ext cx="77422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Macroestratégias</a:t>
            </a:r>
          </a:p>
        </p:txBody>
      </p:sp>
      <p:sp>
        <p:nvSpPr>
          <p:cNvPr id="54" name="Seta para a direita 53"/>
          <p:cNvSpPr/>
          <p:nvPr/>
        </p:nvSpPr>
        <p:spPr>
          <a:xfrm>
            <a:off x="7643813" y="5715000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55" name="Rectangle 18"/>
          <p:cNvSpPr>
            <a:spLocks noChangeArrowheads="1"/>
          </p:cNvSpPr>
          <p:nvPr/>
        </p:nvSpPr>
        <p:spPr bwMode="auto">
          <a:xfrm>
            <a:off x="3053224" y="2355800"/>
            <a:ext cx="5741555" cy="2954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3100" b="1" dirty="0">
                <a:latin typeface="Tahoma" pitchFamily="34" charset="0"/>
                <a:cs typeface="Tahoma" pitchFamily="34" charset="0"/>
              </a:rPr>
              <a:t>5- </a:t>
            </a:r>
            <a:r>
              <a:rPr lang="pt-BR" sz="3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Elevar significativamente </a:t>
            </a:r>
            <a:br>
              <a:rPr lang="pt-BR" sz="3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pt-BR" sz="3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a qualidade do ensino nas 1.206 Escolas </a:t>
            </a:r>
            <a:r>
              <a:rPr lang="pt-BR" sz="31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Prioritárias</a:t>
            </a:r>
            <a:r>
              <a:rPr lang="pt-BR" sz="3100" b="1" dirty="0" smtClean="0">
                <a:latin typeface="Tahoma" pitchFamily="34" charset="0"/>
                <a:cs typeface="Tahoma" pitchFamily="34" charset="0"/>
              </a:rPr>
              <a:t>,</a:t>
            </a:r>
            <a:r>
              <a:rPr lang="pt-BR" sz="3100" b="1" dirty="0" smtClean="0">
                <a:solidFill>
                  <a:srgbClr val="00B05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pt-BR" sz="3100" b="1" dirty="0">
                <a:latin typeface="Tahoma" pitchFamily="34" charset="0"/>
                <a:cs typeface="Tahoma" pitchFamily="34" charset="0"/>
              </a:rPr>
              <a:t>ampliando as possibilidades de aprendizagem dos alunos por elas atendido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1787987" y="3728413"/>
            <a:ext cx="2447925" cy="20955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rot="10800000" vert="eaVert" wrap="none" anchor="ctr"/>
          <a:lstStyle/>
          <a:p>
            <a:pPr>
              <a:defRPr/>
            </a:pPr>
            <a:endParaRPr lang="pt-BR" dirty="0">
              <a:cs typeface="+mn-cs"/>
            </a:endParaRPr>
          </a:p>
        </p:txBody>
      </p:sp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908764" y="2873544"/>
            <a:ext cx="1924050" cy="1919288"/>
            <a:chOff x="1243" y="1854"/>
            <a:chExt cx="1912" cy="1908"/>
          </a:xfrm>
        </p:grpSpPr>
        <p:grpSp>
          <p:nvGrpSpPr>
            <p:cNvPr id="4" name="Group 26"/>
            <p:cNvGrpSpPr>
              <a:grpSpLocks/>
            </p:cNvGrpSpPr>
            <p:nvPr/>
          </p:nvGrpSpPr>
          <p:grpSpPr bwMode="auto">
            <a:xfrm>
              <a:off x="1239" y="1856"/>
              <a:ext cx="1908" cy="1909"/>
              <a:chOff x="1242" y="1510"/>
              <a:chExt cx="1023" cy="1021"/>
            </a:xfrm>
          </p:grpSpPr>
          <p:grpSp>
            <p:nvGrpSpPr>
              <p:cNvPr id="5" name="Group 27"/>
              <p:cNvGrpSpPr>
                <a:grpSpLocks/>
              </p:cNvGrpSpPr>
              <p:nvPr/>
            </p:nvGrpSpPr>
            <p:grpSpPr bwMode="auto">
              <a:xfrm>
                <a:off x="1242" y="1510"/>
                <a:ext cx="1023" cy="1021"/>
                <a:chOff x="1242" y="1510"/>
                <a:chExt cx="1023" cy="1021"/>
              </a:xfrm>
            </p:grpSpPr>
            <p:sp>
              <p:nvSpPr>
                <p:cNvPr id="48" name="Freeform 28"/>
                <p:cNvSpPr>
                  <a:spLocks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1754" y="1510"/>
                  <a:ext cx="484" cy="513"/>
                </a:xfrm>
                <a:custGeom>
                  <a:avLst/>
                  <a:gdLst>
                    <a:gd name="T0" fmla="*/ 759055 w 142"/>
                    <a:gd name="T1" fmla="*/ 563380 h 150"/>
                    <a:gd name="T2" fmla="*/ 0 w 142"/>
                    <a:gd name="T3" fmla="*/ 4644 h 150"/>
                    <a:gd name="T4" fmla="*/ 0 w 142"/>
                    <a:gd name="T5" fmla="*/ 4644 h 150"/>
                    <a:gd name="T6" fmla="*/ 0 w 142"/>
                    <a:gd name="T7" fmla="*/ 820714 h 150"/>
                    <a:gd name="T8" fmla="*/ 759055 w 142"/>
                    <a:gd name="T9" fmla="*/ 563380 h 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2"/>
                    <a:gd name="T16" fmla="*/ 0 h 150"/>
                    <a:gd name="T17" fmla="*/ 142 w 142"/>
                    <a:gd name="T18" fmla="*/ 150 h 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2" h="150">
                      <a:moveTo>
                        <a:pt x="142" y="103"/>
                      </a:moveTo>
                      <a:cubicBezTo>
                        <a:pt x="122" y="42"/>
                        <a:pt x="65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42" y="103"/>
                      </a:lnTo>
                      <a:close/>
                    </a:path>
                  </a:pathLst>
                </a:custGeom>
                <a:solidFill>
                  <a:srgbClr val="FF9900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995C00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9" name="Freeform 29"/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1754" y="1862"/>
                  <a:ext cx="511" cy="573"/>
                </a:xfrm>
                <a:custGeom>
                  <a:avLst/>
                  <a:gdLst>
                    <a:gd name="T0" fmla="*/ 468972 w 150"/>
                    <a:gd name="T1" fmla="*/ 901929 h 168"/>
                    <a:gd name="T2" fmla="*/ 798822 w 150"/>
                    <a:gd name="T3" fmla="*/ 251980 h 168"/>
                    <a:gd name="T4" fmla="*/ 756672 w 150"/>
                    <a:gd name="T5" fmla="*/ 0 h 168"/>
                    <a:gd name="T6" fmla="*/ 0 w 150"/>
                    <a:gd name="T7" fmla="*/ 251980 h 168"/>
                    <a:gd name="T8" fmla="*/ 468972 w 150"/>
                    <a:gd name="T9" fmla="*/ 901929 h 1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8"/>
                    <a:gd name="T17" fmla="*/ 150 w 150"/>
                    <a:gd name="T18" fmla="*/ 168 h 1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8">
                      <a:moveTo>
                        <a:pt x="88" y="168"/>
                      </a:moveTo>
                      <a:cubicBezTo>
                        <a:pt x="127" y="140"/>
                        <a:pt x="150" y="95"/>
                        <a:pt x="150" y="47"/>
                      </a:cubicBezTo>
                      <a:cubicBezTo>
                        <a:pt x="150" y="31"/>
                        <a:pt x="147" y="15"/>
                        <a:pt x="142" y="0"/>
                      </a:cubicBezTo>
                      <a:lnTo>
                        <a:pt x="0" y="47"/>
                      </a:lnTo>
                      <a:lnTo>
                        <a:pt x="88" y="168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0" name="Freeform 30"/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1454" y="2023"/>
                  <a:ext cx="599" cy="508"/>
                </a:xfrm>
                <a:custGeom>
                  <a:avLst/>
                  <a:gdLst>
                    <a:gd name="T0" fmla="*/ 0 w 176"/>
                    <a:gd name="T1" fmla="*/ 642214 h 149"/>
                    <a:gd name="T2" fmla="*/ 466247 w 176"/>
                    <a:gd name="T3" fmla="*/ 797846 h 149"/>
                    <a:gd name="T4" fmla="*/ 931163 w 176"/>
                    <a:gd name="T5" fmla="*/ 648559 h 149"/>
                    <a:gd name="T6" fmla="*/ 466247 w 176"/>
                    <a:gd name="T7" fmla="*/ 0 h 149"/>
                    <a:gd name="T8" fmla="*/ 0 w 176"/>
                    <a:gd name="T9" fmla="*/ 642214 h 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6"/>
                    <a:gd name="T16" fmla="*/ 0 h 149"/>
                    <a:gd name="T17" fmla="*/ 176 w 176"/>
                    <a:gd name="T18" fmla="*/ 149 h 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6" h="149">
                      <a:moveTo>
                        <a:pt x="0" y="120"/>
                      </a:moveTo>
                      <a:cubicBezTo>
                        <a:pt x="25" y="139"/>
                        <a:pt x="56" y="149"/>
                        <a:pt x="88" y="149"/>
                      </a:cubicBezTo>
                      <a:cubicBezTo>
                        <a:pt x="120" y="149"/>
                        <a:pt x="150" y="140"/>
                        <a:pt x="176" y="121"/>
                      </a:cubicBezTo>
                      <a:lnTo>
                        <a:pt x="88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1" name="Freeform 31"/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1242" y="1865"/>
                  <a:ext cx="512" cy="567"/>
                </a:xfrm>
                <a:custGeom>
                  <a:avLst/>
                  <a:gdLst>
                    <a:gd name="T0" fmla="*/ 42629 w 150"/>
                    <a:gd name="T1" fmla="*/ 0 h 166"/>
                    <a:gd name="T2" fmla="*/ 4615 w 150"/>
                    <a:gd name="T3" fmla="*/ 249224 h 166"/>
                    <a:gd name="T4" fmla="*/ 335404 w 150"/>
                    <a:gd name="T5" fmla="*/ 900522 h 166"/>
                    <a:gd name="T6" fmla="*/ 809957 w 150"/>
                    <a:gd name="T7" fmla="*/ 249224 h 166"/>
                    <a:gd name="T8" fmla="*/ 42629 w 150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6"/>
                    <a:gd name="T17" fmla="*/ 150 w 150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6">
                      <a:moveTo>
                        <a:pt x="8" y="0"/>
                      </a:moveTo>
                      <a:cubicBezTo>
                        <a:pt x="3" y="15"/>
                        <a:pt x="1" y="30"/>
                        <a:pt x="1" y="46"/>
                      </a:cubicBezTo>
                      <a:cubicBezTo>
                        <a:pt x="0" y="94"/>
                        <a:pt x="23" y="138"/>
                        <a:pt x="62" y="166"/>
                      </a:cubicBezTo>
                      <a:lnTo>
                        <a:pt x="150" y="4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52" name="Freeform 32"/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1269" y="1513"/>
                  <a:ext cx="485" cy="510"/>
                </a:xfrm>
                <a:custGeom>
                  <a:avLst/>
                  <a:gdLst>
                    <a:gd name="T0" fmla="*/ 770105 w 142"/>
                    <a:gd name="T1" fmla="*/ 0 h 149"/>
                    <a:gd name="T2" fmla="*/ 0 w 142"/>
                    <a:gd name="T3" fmla="*/ 567544 h 149"/>
                    <a:gd name="T4" fmla="*/ 770105 w 142"/>
                    <a:gd name="T5" fmla="*/ 820261 h 149"/>
                    <a:gd name="T6" fmla="*/ 770105 w 142"/>
                    <a:gd name="T7" fmla="*/ 0 h 1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2"/>
                    <a:gd name="T13" fmla="*/ 0 h 149"/>
                    <a:gd name="T14" fmla="*/ 142 w 142"/>
                    <a:gd name="T15" fmla="*/ 149 h 1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2" h="149">
                      <a:moveTo>
                        <a:pt x="142" y="0"/>
                      </a:moveTo>
                      <a:cubicBezTo>
                        <a:pt x="77" y="0"/>
                        <a:pt x="20" y="41"/>
                        <a:pt x="0" y="103"/>
                      </a:cubicBezTo>
                      <a:lnTo>
                        <a:pt x="142" y="14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</p:grpSp>
          <p:sp>
            <p:nvSpPr>
              <p:cNvPr id="42" name="Freeform 33" descr="FOTO 01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324" y="1571"/>
                <a:ext cx="431" cy="461"/>
              </a:xfrm>
              <a:custGeom>
                <a:avLst/>
                <a:gdLst>
                  <a:gd name="T0" fmla="*/ 0 w 1385"/>
                  <a:gd name="T1" fmla="*/ 0 h 1485"/>
                  <a:gd name="T2" fmla="*/ 0 w 1385"/>
                  <a:gd name="T3" fmla="*/ 0 h 1485"/>
                  <a:gd name="T4" fmla="*/ 0 w 1385"/>
                  <a:gd name="T5" fmla="*/ 0 h 1485"/>
                  <a:gd name="T6" fmla="*/ 0 w 1385"/>
                  <a:gd name="T7" fmla="*/ 0 h 1485"/>
                  <a:gd name="T8" fmla="*/ 0 w 1385"/>
                  <a:gd name="T9" fmla="*/ 0 h 1485"/>
                  <a:gd name="T10" fmla="*/ 0 w 1385"/>
                  <a:gd name="T11" fmla="*/ 0 h 1485"/>
                  <a:gd name="T12" fmla="*/ 0 w 1385"/>
                  <a:gd name="T13" fmla="*/ 0 h 1485"/>
                  <a:gd name="T14" fmla="*/ 0 w 1385"/>
                  <a:gd name="T15" fmla="*/ 0 h 1485"/>
                  <a:gd name="T16" fmla="*/ 0 w 1385"/>
                  <a:gd name="T17" fmla="*/ 0 h 1485"/>
                  <a:gd name="T18" fmla="*/ 0 w 1385"/>
                  <a:gd name="T19" fmla="*/ 0 h 1485"/>
                  <a:gd name="T20" fmla="*/ 0 w 1385"/>
                  <a:gd name="T21" fmla="*/ 0 h 1485"/>
                  <a:gd name="T22" fmla="*/ 0 w 1385"/>
                  <a:gd name="T23" fmla="*/ 0 h 1485"/>
                  <a:gd name="T24" fmla="*/ 0 w 1385"/>
                  <a:gd name="T25" fmla="*/ 0 h 1485"/>
                  <a:gd name="T26" fmla="*/ 0 w 1385"/>
                  <a:gd name="T27" fmla="*/ 0 h 1485"/>
                  <a:gd name="T28" fmla="*/ 0 w 1385"/>
                  <a:gd name="T29" fmla="*/ 0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29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3" name="Freeform 34" descr="FOTO 05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271" y="1884"/>
                <a:ext cx="484" cy="507"/>
              </a:xfrm>
              <a:custGeom>
                <a:avLst/>
                <a:gdLst>
                  <a:gd name="T0" fmla="*/ 1 w 1556"/>
                  <a:gd name="T1" fmla="*/ 0 h 1629"/>
                  <a:gd name="T2" fmla="*/ 0 w 1556"/>
                  <a:gd name="T3" fmla="*/ 0 h 1629"/>
                  <a:gd name="T4" fmla="*/ 0 w 1556"/>
                  <a:gd name="T5" fmla="*/ 0 h 1629"/>
                  <a:gd name="T6" fmla="*/ 0 w 1556"/>
                  <a:gd name="T7" fmla="*/ 0 h 1629"/>
                  <a:gd name="T8" fmla="*/ 0 w 1556"/>
                  <a:gd name="T9" fmla="*/ 0 h 1629"/>
                  <a:gd name="T10" fmla="*/ 0 w 1556"/>
                  <a:gd name="T11" fmla="*/ 0 h 1629"/>
                  <a:gd name="T12" fmla="*/ 0 w 1556"/>
                  <a:gd name="T13" fmla="*/ 0 h 1629"/>
                  <a:gd name="T14" fmla="*/ 0 w 1556"/>
                  <a:gd name="T15" fmla="*/ 0 h 1629"/>
                  <a:gd name="T16" fmla="*/ 0 w 1556"/>
                  <a:gd name="T17" fmla="*/ 1 h 1629"/>
                  <a:gd name="T18" fmla="*/ 0 w 1556"/>
                  <a:gd name="T19" fmla="*/ 0 h 1629"/>
                  <a:gd name="T20" fmla="*/ 0 w 1556"/>
                  <a:gd name="T21" fmla="*/ 0 h 1629"/>
                  <a:gd name="T22" fmla="*/ 0 w 1556"/>
                  <a:gd name="T23" fmla="*/ 0 h 1629"/>
                  <a:gd name="T24" fmla="*/ 0 w 1556"/>
                  <a:gd name="T25" fmla="*/ 0 h 1629"/>
                  <a:gd name="T26" fmla="*/ 0 w 1556"/>
                  <a:gd name="T27" fmla="*/ 0 h 1629"/>
                  <a:gd name="T28" fmla="*/ 1 w 1556"/>
                  <a:gd name="T29" fmla="*/ 0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30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4" name="Freeform 3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488" y="2024"/>
                <a:ext cx="533" cy="465"/>
              </a:xfrm>
              <a:custGeom>
                <a:avLst/>
                <a:gdLst>
                  <a:gd name="T0" fmla="*/ 0 w 1713"/>
                  <a:gd name="T1" fmla="*/ 0 h 1498"/>
                  <a:gd name="T2" fmla="*/ 0 w 1713"/>
                  <a:gd name="T3" fmla="*/ 0 h 1498"/>
                  <a:gd name="T4" fmla="*/ 0 w 1713"/>
                  <a:gd name="T5" fmla="*/ 0 h 1498"/>
                  <a:gd name="T6" fmla="*/ 0 w 1713"/>
                  <a:gd name="T7" fmla="*/ 0 h 1498"/>
                  <a:gd name="T8" fmla="*/ 0 w 1713"/>
                  <a:gd name="T9" fmla="*/ 0 h 1498"/>
                  <a:gd name="T10" fmla="*/ 0 w 1713"/>
                  <a:gd name="T11" fmla="*/ 0 h 1498"/>
                  <a:gd name="T12" fmla="*/ 0 w 1713"/>
                  <a:gd name="T13" fmla="*/ 0 h 1498"/>
                  <a:gd name="T14" fmla="*/ 0 w 1713"/>
                  <a:gd name="T15" fmla="*/ 0 h 1498"/>
                  <a:gd name="T16" fmla="*/ 1 w 1713"/>
                  <a:gd name="T17" fmla="*/ 0 h 1498"/>
                  <a:gd name="T18" fmla="*/ 0 w 1713"/>
                  <a:gd name="T19" fmla="*/ 0 h 1498"/>
                  <a:gd name="T20" fmla="*/ 1 w 1713"/>
                  <a:gd name="T21" fmla="*/ 0 h 1498"/>
                  <a:gd name="T22" fmla="*/ 1 w 1713"/>
                  <a:gd name="T23" fmla="*/ 0 h 1498"/>
                  <a:gd name="T24" fmla="*/ 0 w 1713"/>
                  <a:gd name="T25" fmla="*/ 0 h 1498"/>
                  <a:gd name="T26" fmla="*/ 0 w 1713"/>
                  <a:gd name="T27" fmla="*/ 0 h 1498"/>
                  <a:gd name="T28" fmla="*/ 0 w 1713"/>
                  <a:gd name="T29" fmla="*/ 0 h 1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3"/>
                  <a:gd name="T46" fmla="*/ 0 h 1498"/>
                  <a:gd name="T47" fmla="*/ 1713 w 1713"/>
                  <a:gd name="T48" fmla="*/ 1498 h 1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3" h="1498">
                    <a:moveTo>
                      <a:pt x="857" y="0"/>
                    </a:moveTo>
                    <a:cubicBezTo>
                      <a:pt x="857" y="0"/>
                      <a:pt x="498" y="472"/>
                      <a:pt x="444" y="567"/>
                    </a:cubicBezTo>
                    <a:cubicBezTo>
                      <a:pt x="532" y="548"/>
                      <a:pt x="586" y="597"/>
                      <a:pt x="612" y="638"/>
                    </a:cubicBezTo>
                    <a:cubicBezTo>
                      <a:pt x="638" y="679"/>
                      <a:pt x="646" y="756"/>
                      <a:pt x="601" y="812"/>
                    </a:cubicBezTo>
                    <a:cubicBezTo>
                      <a:pt x="536" y="882"/>
                      <a:pt x="479" y="880"/>
                      <a:pt x="433" y="867"/>
                    </a:cubicBezTo>
                    <a:cubicBezTo>
                      <a:pt x="387" y="854"/>
                      <a:pt x="339" y="809"/>
                      <a:pt x="322" y="735"/>
                    </a:cubicBezTo>
                    <a:cubicBezTo>
                      <a:pt x="269" y="809"/>
                      <a:pt x="161" y="958"/>
                      <a:pt x="0" y="1179"/>
                    </a:cubicBezTo>
                    <a:cubicBezTo>
                      <a:pt x="430" y="1498"/>
                      <a:pt x="909" y="1461"/>
                      <a:pt x="909" y="1461"/>
                    </a:cubicBezTo>
                    <a:cubicBezTo>
                      <a:pt x="909" y="1461"/>
                      <a:pt x="1305" y="1475"/>
                      <a:pt x="1713" y="1177"/>
                    </a:cubicBezTo>
                    <a:cubicBezTo>
                      <a:pt x="1713" y="1177"/>
                      <a:pt x="1450" y="817"/>
                      <a:pt x="1390" y="735"/>
                    </a:cubicBezTo>
                    <a:cubicBezTo>
                      <a:pt x="1485" y="748"/>
                      <a:pt x="1538" y="689"/>
                      <a:pt x="1558" y="652"/>
                    </a:cubicBezTo>
                    <a:cubicBezTo>
                      <a:pt x="1583" y="610"/>
                      <a:pt x="1583" y="540"/>
                      <a:pt x="1546" y="490"/>
                    </a:cubicBezTo>
                    <a:cubicBezTo>
                      <a:pt x="1500" y="440"/>
                      <a:pt x="1466" y="424"/>
                      <a:pt x="1395" y="428"/>
                    </a:cubicBezTo>
                    <a:cubicBezTo>
                      <a:pt x="1343" y="439"/>
                      <a:pt x="1273" y="478"/>
                      <a:pt x="1269" y="567"/>
                    </a:cubicBezTo>
                    <a:cubicBezTo>
                      <a:pt x="1063" y="285"/>
                      <a:pt x="857" y="0"/>
                      <a:pt x="857" y="0"/>
                    </a:cubicBezTo>
                    <a:close/>
                  </a:path>
                </a:pathLst>
              </a:custGeom>
              <a:solidFill>
                <a:srgbClr val="DDDDDD"/>
              </a:solid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5" name="Freeform 36" descr="FOTO 0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755" y="1861"/>
                <a:ext cx="479" cy="529"/>
              </a:xfrm>
              <a:custGeom>
                <a:avLst/>
                <a:gdLst>
                  <a:gd name="T0" fmla="*/ 0 w 1541"/>
                  <a:gd name="T1" fmla="*/ 0 h 1703"/>
                  <a:gd name="T2" fmla="*/ 0 w 1541"/>
                  <a:gd name="T3" fmla="*/ 0 h 1703"/>
                  <a:gd name="T4" fmla="*/ 0 w 1541"/>
                  <a:gd name="T5" fmla="*/ 0 h 1703"/>
                  <a:gd name="T6" fmla="*/ 0 w 1541"/>
                  <a:gd name="T7" fmla="*/ 0 h 1703"/>
                  <a:gd name="T8" fmla="*/ 0 w 1541"/>
                  <a:gd name="T9" fmla="*/ 0 h 1703"/>
                  <a:gd name="T10" fmla="*/ 0 w 1541"/>
                  <a:gd name="T11" fmla="*/ 0 h 1703"/>
                  <a:gd name="T12" fmla="*/ 0 w 1541"/>
                  <a:gd name="T13" fmla="*/ 1 h 1703"/>
                  <a:gd name="T14" fmla="*/ 0 w 1541"/>
                  <a:gd name="T15" fmla="*/ 0 h 1703"/>
                  <a:gd name="T16" fmla="*/ 0 w 1541"/>
                  <a:gd name="T17" fmla="*/ 0 h 1703"/>
                  <a:gd name="T18" fmla="*/ 0 w 1541"/>
                  <a:gd name="T19" fmla="*/ 0 h 1703"/>
                  <a:gd name="T20" fmla="*/ 0 w 1541"/>
                  <a:gd name="T21" fmla="*/ 0 h 1703"/>
                  <a:gd name="T22" fmla="*/ 0 w 1541"/>
                  <a:gd name="T23" fmla="*/ 0 h 1703"/>
                  <a:gd name="T24" fmla="*/ 0 w 1541"/>
                  <a:gd name="T25" fmla="*/ 0 h 1703"/>
                  <a:gd name="T26" fmla="*/ 0 w 1541"/>
                  <a:gd name="T27" fmla="*/ 0 h 1703"/>
                  <a:gd name="T28" fmla="*/ 0 w 1541"/>
                  <a:gd name="T29" fmla="*/ 0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31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6" name="Freeform 37" descr="FOTO 02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70" y="1571"/>
                <a:ext cx="515" cy="453"/>
              </a:xfrm>
              <a:custGeom>
                <a:avLst/>
                <a:gdLst>
                  <a:gd name="T0" fmla="*/ 0 w 1656"/>
                  <a:gd name="T1" fmla="*/ 0 h 1456"/>
                  <a:gd name="T2" fmla="*/ 0 w 1656"/>
                  <a:gd name="T3" fmla="*/ 0 h 1456"/>
                  <a:gd name="T4" fmla="*/ 0 w 1656"/>
                  <a:gd name="T5" fmla="*/ 0 h 1456"/>
                  <a:gd name="T6" fmla="*/ 0 w 1656"/>
                  <a:gd name="T7" fmla="*/ 0 h 1456"/>
                  <a:gd name="T8" fmla="*/ 0 w 1656"/>
                  <a:gd name="T9" fmla="*/ 0 h 1456"/>
                  <a:gd name="T10" fmla="*/ 0 w 1656"/>
                  <a:gd name="T11" fmla="*/ 0 h 1456"/>
                  <a:gd name="T12" fmla="*/ 1 w 1656"/>
                  <a:gd name="T13" fmla="*/ 0 h 1456"/>
                  <a:gd name="T14" fmla="*/ 0 w 1656"/>
                  <a:gd name="T15" fmla="*/ 0 h 1456"/>
                  <a:gd name="T16" fmla="*/ 0 w 1656"/>
                  <a:gd name="T17" fmla="*/ 0 h 1456"/>
                  <a:gd name="T18" fmla="*/ 0 w 1656"/>
                  <a:gd name="T19" fmla="*/ 0 h 1456"/>
                  <a:gd name="T20" fmla="*/ 0 w 1656"/>
                  <a:gd name="T21" fmla="*/ 0 h 1456"/>
                  <a:gd name="T22" fmla="*/ 0 w 1656"/>
                  <a:gd name="T23" fmla="*/ 0 h 1456"/>
                  <a:gd name="T24" fmla="*/ 0 w 1656"/>
                  <a:gd name="T25" fmla="*/ 0 h 1456"/>
                  <a:gd name="T26" fmla="*/ 0 w 1656"/>
                  <a:gd name="T27" fmla="*/ 0 h 1456"/>
                  <a:gd name="T28" fmla="*/ 0 w 1656"/>
                  <a:gd name="T29" fmla="*/ 0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32"/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pic>
            <p:nvPicPr>
              <p:cNvPr id="47" name="Picture 38" descr="MC900434822[1]"/>
              <p:cNvPicPr>
                <a:picLocks noChangeArrowheads="1"/>
              </p:cNvPicPr>
              <p:nvPr>
                <p:custDataLst>
                  <p:tags r:id="rId22"/>
                </p:custDataLst>
              </p:nvPr>
            </p:nvPicPr>
            <p:blipFill>
              <a:blip r:embed="rId33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grayscl/>
              </a:blip>
              <a:srcRect/>
              <a:stretch>
                <a:fillRect/>
              </a:stretch>
            </p:blipFill>
            <p:spPr bwMode="auto">
              <a:xfrm>
                <a:off x="1606" y="2203"/>
                <a:ext cx="294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" name="Group 39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1642" y="2068"/>
              <a:ext cx="126" cy="134"/>
              <a:chOff x="1220" y="960"/>
              <a:chExt cx="205" cy="219"/>
            </a:xfrm>
          </p:grpSpPr>
          <p:grpSp>
            <p:nvGrpSpPr>
              <p:cNvPr id="7" name="Group 40"/>
              <p:cNvGrpSpPr>
                <a:grpSpLocks/>
              </p:cNvGrpSpPr>
              <p:nvPr>
                <p:custDataLst>
                  <p:tags r:id="rId15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7" name="Oval 4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8" name="Oval 4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9" name="Oval 4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0" name="Oval 44"/>
                <p:cNvSpPr>
                  <a:spLocks noChangeArrowheads="1"/>
                </p:cNvSpPr>
                <p:nvPr/>
              </p:nvSpPr>
              <p:spPr bwMode="gray">
                <a:xfrm>
                  <a:off x="67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6" name="Rectangle 45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8" name="Group 46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2634" y="2068"/>
              <a:ext cx="126" cy="134"/>
              <a:chOff x="1220" y="960"/>
              <a:chExt cx="205" cy="219"/>
            </a:xfrm>
          </p:grpSpPr>
          <p:grpSp>
            <p:nvGrpSpPr>
              <p:cNvPr id="9" name="Group 47"/>
              <p:cNvGrpSpPr>
                <a:grpSpLocks/>
              </p:cNvGrpSpPr>
              <p:nvPr>
                <p:custDataLst>
                  <p:tags r:id="rId13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1" name="Oval 48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2" name="Oval 49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3" name="Oval 50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4" name="Oval 51"/>
                <p:cNvSpPr>
                  <a:spLocks noChangeArrowheads="1"/>
                </p:cNvSpPr>
                <p:nvPr/>
              </p:nvSpPr>
              <p:spPr bwMode="gray">
                <a:xfrm>
                  <a:off x="69" y="1361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0" name="Rectangle 52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10" name="Group 53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1324" y="2998"/>
              <a:ext cx="125" cy="134"/>
              <a:chOff x="1220" y="960"/>
              <a:chExt cx="205" cy="219"/>
            </a:xfrm>
          </p:grpSpPr>
          <p:grpSp>
            <p:nvGrpSpPr>
              <p:cNvPr id="11" name="Group 54"/>
              <p:cNvGrpSpPr>
                <a:grpSpLocks/>
              </p:cNvGrpSpPr>
              <p:nvPr>
                <p:custDataLst>
                  <p:tags r:id="rId11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25" name="Oval 55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6" name="Oval 56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7" name="Oval 57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8" name="Oval 58"/>
                <p:cNvSpPr>
                  <a:spLocks noChangeArrowheads="1"/>
                </p:cNvSpPr>
                <p:nvPr/>
              </p:nvSpPr>
              <p:spPr bwMode="gray">
                <a:xfrm>
                  <a:off x="63" y="1358"/>
                  <a:ext cx="668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24" name="Rectangle 59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 flipH="1">
                <a:off x="1277" y="960"/>
                <a:ext cx="102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grpSp>
          <p:nvGrpSpPr>
            <p:cNvPr id="17" name="Group 60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2949" y="2998"/>
              <a:ext cx="126" cy="134"/>
              <a:chOff x="1220" y="960"/>
              <a:chExt cx="205" cy="219"/>
            </a:xfrm>
          </p:grpSpPr>
          <p:grpSp>
            <p:nvGrpSpPr>
              <p:cNvPr id="23" name="Group 61"/>
              <p:cNvGrpSpPr>
                <a:grpSpLocks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9" name="Oval 62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0" name="Oval 63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1" name="Oval 64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2" name="Oval 65"/>
                <p:cNvSpPr>
                  <a:spLocks noChangeArrowheads="1"/>
                </p:cNvSpPr>
                <p:nvPr/>
              </p:nvSpPr>
              <p:spPr bwMode="gray">
                <a:xfrm>
                  <a:off x="62" y="1358"/>
                  <a:ext cx="663" cy="584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8" name="Rectangle 66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 flipH="1">
                <a:off x="1279" y="960"/>
                <a:ext cx="100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grpSp>
          <p:nvGrpSpPr>
            <p:cNvPr id="29" name="Group 67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2138" y="3591"/>
              <a:ext cx="125" cy="133"/>
              <a:chOff x="1220" y="960"/>
              <a:chExt cx="205" cy="217"/>
            </a:xfrm>
          </p:grpSpPr>
          <p:grpSp>
            <p:nvGrpSpPr>
              <p:cNvPr id="35" name="Group 68"/>
              <p:cNvGrpSpPr>
                <a:grpSpLocks/>
              </p:cNvGrpSpPr>
              <p:nvPr>
                <p:custDataLst>
                  <p:tags r:id="rId7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3" name="Oval 69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4" name="Oval 70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5" name="Oval 71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6" name="Oval 72"/>
                <p:cNvSpPr>
                  <a:spLocks noChangeArrowheads="1"/>
                </p:cNvSpPr>
                <p:nvPr/>
              </p:nvSpPr>
              <p:spPr bwMode="gray">
                <a:xfrm>
                  <a:off x="63" y="1361"/>
                  <a:ext cx="668" cy="583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2" name="Rectangle 73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flipH="1">
                <a:off x="1277" y="960"/>
                <a:ext cx="10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sp>
        <p:nvSpPr>
          <p:cNvPr id="53" name="CaixaDeTexto 75"/>
          <p:cNvSpPr txBox="1">
            <a:spLocks noChangeArrowheads="1"/>
          </p:cNvSpPr>
          <p:nvPr/>
        </p:nvSpPr>
        <p:spPr bwMode="auto">
          <a:xfrm>
            <a:off x="965798" y="1295832"/>
            <a:ext cx="77422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Macroestratégias</a:t>
            </a:r>
          </a:p>
        </p:txBody>
      </p:sp>
      <p:sp>
        <p:nvSpPr>
          <p:cNvPr id="54" name="Rectangle 21"/>
          <p:cNvSpPr>
            <a:spLocks noChangeArrowheads="1"/>
          </p:cNvSpPr>
          <p:nvPr/>
        </p:nvSpPr>
        <p:spPr bwMode="auto">
          <a:xfrm>
            <a:off x="3270251" y="2163500"/>
            <a:ext cx="5445154" cy="3339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3100" b="1" dirty="0">
                <a:latin typeface="Tahoma" pitchFamily="34" charset="0"/>
                <a:cs typeface="Tahoma" pitchFamily="34" charset="0"/>
              </a:rPr>
              <a:t>6-</a:t>
            </a:r>
            <a:r>
              <a:rPr lang="pt-BR" sz="3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Investir em tecnologias educacionais que auxiliem </a:t>
            </a:r>
            <a:br>
              <a:rPr lang="pt-BR" sz="3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</a:br>
            <a:r>
              <a:rPr lang="pt-BR" sz="31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o aluno no seu processo de aprendizagem,</a:t>
            </a:r>
            <a:r>
              <a:rPr lang="pt-BR" sz="3100" b="1" dirty="0">
                <a:solidFill>
                  <a:srgbClr val="FF66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pt-BR" sz="3100" b="1" dirty="0">
                <a:latin typeface="Tahoma" pitchFamily="34" charset="0"/>
                <a:cs typeface="Tahoma" pitchFamily="34" charset="0"/>
              </a:rPr>
              <a:t>de forma a alavancar os desempenhos </a:t>
            </a:r>
            <a:br>
              <a:rPr lang="pt-BR" sz="3100" b="1" dirty="0">
                <a:latin typeface="Tahoma" pitchFamily="34" charset="0"/>
                <a:cs typeface="Tahoma" pitchFamily="34" charset="0"/>
              </a:rPr>
            </a:br>
            <a:r>
              <a:rPr lang="pt-BR" sz="3100" b="1" dirty="0">
                <a:latin typeface="Tahoma" pitchFamily="34" charset="0"/>
                <a:cs typeface="Tahoma" pitchFamily="34" charset="0"/>
              </a:rPr>
              <a:t>e índices no curto e longo prazo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886167" y="1898231"/>
            <a:ext cx="7794846" cy="3125165"/>
          </a:xfrm>
        </p:spPr>
        <p:txBody>
          <a:bodyPr/>
          <a:lstStyle/>
          <a:p>
            <a:pPr eaLnBrk="1" hangingPunct="1">
              <a:spcBef>
                <a:spcPts val="600"/>
              </a:spcBef>
            </a:pPr>
            <a: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. Mobilizar, Engajar e Responsabilizar a Rede, os Alunos e a Sociedade em torno do processo de ensino-aprendizagem </a:t>
            </a:r>
          </a:p>
        </p:txBody>
      </p:sp>
      <p:sp>
        <p:nvSpPr>
          <p:cNvPr id="66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>
              <a:defRPr/>
            </a:pPr>
            <a:fld id="{22CC16DD-2FEC-4E94-8574-14283D1271E6}" type="slidenum">
              <a:rPr lang="pt-BR"/>
              <a:pPr algn="l">
                <a:defRPr/>
              </a:pPr>
              <a:t>15</a:t>
            </a:fld>
            <a:r>
              <a:rPr lang="pt-BR" dirty="0"/>
              <a:t> </a:t>
            </a:r>
          </a:p>
        </p:txBody>
      </p:sp>
      <p:graphicFrame>
        <p:nvGraphicFramePr>
          <p:cNvPr id="4098" name="AutoShape 6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4104" name="think-cell Slide" r:id="rId5" imgW="0" imgH="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>
              <a:defRPr/>
            </a:pPr>
            <a:fld id="{22CC16DD-2FEC-4E94-8574-14283D1271E6}" type="slidenum">
              <a:rPr lang="pt-BR"/>
              <a:pPr algn="l">
                <a:defRPr/>
              </a:pPr>
              <a:t>16</a:t>
            </a:fld>
            <a:r>
              <a:rPr lang="pt-BR" dirty="0"/>
              <a:t> </a:t>
            </a:r>
          </a:p>
        </p:txBody>
      </p:sp>
      <p:graphicFrame>
        <p:nvGraphicFramePr>
          <p:cNvPr id="4098" name="AutoShape 6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31752" name="think-cell Slide" r:id="rId31" imgW="0" imgH="0" progId="">
              <p:embed/>
            </p:oleObj>
          </a:graphicData>
        </a:graphic>
      </p:graphicFrame>
      <p:sp>
        <p:nvSpPr>
          <p:cNvPr id="474116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27000000">
            <a:off x="1919546" y="3629497"/>
            <a:ext cx="2359053" cy="202462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rot="10800000" vert="eaVert" wrap="none" lIns="93296" tIns="46648" rIns="93296" bIns="4664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latin typeface="+mn-lt"/>
              <a:cs typeface="+mn-cs"/>
            </a:endParaRPr>
          </a:p>
        </p:txBody>
      </p:sp>
      <p:grpSp>
        <p:nvGrpSpPr>
          <p:cNvPr id="6" name="Group 17"/>
          <p:cNvGrpSpPr>
            <a:grpSpLocks/>
          </p:cNvGrpSpPr>
          <p:nvPr/>
        </p:nvGrpSpPr>
        <p:grpSpPr bwMode="auto">
          <a:xfrm>
            <a:off x="943256" y="2759143"/>
            <a:ext cx="1947165" cy="1943171"/>
            <a:chOff x="4481" y="1854"/>
            <a:chExt cx="1912" cy="1908"/>
          </a:xfrm>
        </p:grpSpPr>
        <p:grpSp>
          <p:nvGrpSpPr>
            <p:cNvPr id="7" name="Group 18"/>
            <p:cNvGrpSpPr>
              <a:grpSpLocks/>
            </p:cNvGrpSpPr>
            <p:nvPr/>
          </p:nvGrpSpPr>
          <p:grpSpPr bwMode="auto">
            <a:xfrm>
              <a:off x="4481" y="1854"/>
              <a:ext cx="1912" cy="1908"/>
              <a:chOff x="4481" y="1510"/>
              <a:chExt cx="1023" cy="1021"/>
            </a:xfrm>
          </p:grpSpPr>
          <p:grpSp>
            <p:nvGrpSpPr>
              <p:cNvPr id="8" name="Group 19"/>
              <p:cNvGrpSpPr>
                <a:grpSpLocks/>
              </p:cNvGrpSpPr>
              <p:nvPr/>
            </p:nvGrpSpPr>
            <p:grpSpPr bwMode="auto">
              <a:xfrm>
                <a:off x="4481" y="1510"/>
                <a:ext cx="1023" cy="1021"/>
                <a:chOff x="4481" y="1510"/>
                <a:chExt cx="1023" cy="1021"/>
              </a:xfrm>
            </p:grpSpPr>
            <p:sp>
              <p:nvSpPr>
                <p:cNvPr id="4149" name="Freeform 20"/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4993" y="1510"/>
                  <a:ext cx="484" cy="513"/>
                </a:xfrm>
                <a:custGeom>
                  <a:avLst/>
                  <a:gdLst>
                    <a:gd name="T0" fmla="*/ 484 w 142"/>
                    <a:gd name="T1" fmla="*/ 352 h 150"/>
                    <a:gd name="T2" fmla="*/ 0 w 142"/>
                    <a:gd name="T3" fmla="*/ 3 h 150"/>
                    <a:gd name="T4" fmla="*/ 0 w 142"/>
                    <a:gd name="T5" fmla="*/ 3 h 150"/>
                    <a:gd name="T6" fmla="*/ 0 w 142"/>
                    <a:gd name="T7" fmla="*/ 513 h 150"/>
                    <a:gd name="T8" fmla="*/ 484 w 142"/>
                    <a:gd name="T9" fmla="*/ 352 h 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2"/>
                    <a:gd name="T16" fmla="*/ 0 h 150"/>
                    <a:gd name="T17" fmla="*/ 142 w 142"/>
                    <a:gd name="T18" fmla="*/ 150 h 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2" h="150">
                      <a:moveTo>
                        <a:pt x="142" y="103"/>
                      </a:moveTo>
                      <a:cubicBezTo>
                        <a:pt x="122" y="42"/>
                        <a:pt x="65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42" y="103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150" name="Freeform 21"/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4993" y="1862"/>
                  <a:ext cx="511" cy="573"/>
                </a:xfrm>
                <a:custGeom>
                  <a:avLst/>
                  <a:gdLst>
                    <a:gd name="T0" fmla="*/ 300 w 150"/>
                    <a:gd name="T1" fmla="*/ 573 h 168"/>
                    <a:gd name="T2" fmla="*/ 511 w 150"/>
                    <a:gd name="T3" fmla="*/ 160 h 168"/>
                    <a:gd name="T4" fmla="*/ 484 w 150"/>
                    <a:gd name="T5" fmla="*/ 0 h 168"/>
                    <a:gd name="T6" fmla="*/ 0 w 150"/>
                    <a:gd name="T7" fmla="*/ 160 h 168"/>
                    <a:gd name="T8" fmla="*/ 300 w 150"/>
                    <a:gd name="T9" fmla="*/ 573 h 1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8"/>
                    <a:gd name="T17" fmla="*/ 150 w 150"/>
                    <a:gd name="T18" fmla="*/ 168 h 1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8">
                      <a:moveTo>
                        <a:pt x="88" y="168"/>
                      </a:moveTo>
                      <a:cubicBezTo>
                        <a:pt x="127" y="140"/>
                        <a:pt x="150" y="95"/>
                        <a:pt x="150" y="47"/>
                      </a:cubicBezTo>
                      <a:cubicBezTo>
                        <a:pt x="150" y="31"/>
                        <a:pt x="147" y="15"/>
                        <a:pt x="142" y="0"/>
                      </a:cubicBezTo>
                      <a:lnTo>
                        <a:pt x="0" y="47"/>
                      </a:lnTo>
                      <a:lnTo>
                        <a:pt x="88" y="168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151" name="Freeform 22"/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4693" y="2023"/>
                  <a:ext cx="599" cy="508"/>
                </a:xfrm>
                <a:custGeom>
                  <a:avLst/>
                  <a:gdLst>
                    <a:gd name="T0" fmla="*/ 0 w 176"/>
                    <a:gd name="T1" fmla="*/ 409 h 149"/>
                    <a:gd name="T2" fmla="*/ 300 w 176"/>
                    <a:gd name="T3" fmla="*/ 508 h 149"/>
                    <a:gd name="T4" fmla="*/ 599 w 176"/>
                    <a:gd name="T5" fmla="*/ 413 h 149"/>
                    <a:gd name="T6" fmla="*/ 300 w 176"/>
                    <a:gd name="T7" fmla="*/ 0 h 149"/>
                    <a:gd name="T8" fmla="*/ 0 w 176"/>
                    <a:gd name="T9" fmla="*/ 409 h 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6"/>
                    <a:gd name="T16" fmla="*/ 0 h 149"/>
                    <a:gd name="T17" fmla="*/ 176 w 176"/>
                    <a:gd name="T18" fmla="*/ 149 h 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6" h="149">
                      <a:moveTo>
                        <a:pt x="0" y="120"/>
                      </a:moveTo>
                      <a:cubicBezTo>
                        <a:pt x="25" y="139"/>
                        <a:pt x="56" y="149"/>
                        <a:pt x="88" y="149"/>
                      </a:cubicBezTo>
                      <a:cubicBezTo>
                        <a:pt x="120" y="149"/>
                        <a:pt x="150" y="140"/>
                        <a:pt x="176" y="121"/>
                      </a:cubicBezTo>
                      <a:lnTo>
                        <a:pt x="88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152" name="Freeform 23"/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4481" y="1865"/>
                  <a:ext cx="512" cy="567"/>
                </a:xfrm>
                <a:custGeom>
                  <a:avLst/>
                  <a:gdLst>
                    <a:gd name="T0" fmla="*/ 27 w 150"/>
                    <a:gd name="T1" fmla="*/ 0 h 166"/>
                    <a:gd name="T2" fmla="*/ 3 w 150"/>
                    <a:gd name="T3" fmla="*/ 157 h 166"/>
                    <a:gd name="T4" fmla="*/ 212 w 150"/>
                    <a:gd name="T5" fmla="*/ 567 h 166"/>
                    <a:gd name="T6" fmla="*/ 512 w 150"/>
                    <a:gd name="T7" fmla="*/ 157 h 166"/>
                    <a:gd name="T8" fmla="*/ 27 w 150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6"/>
                    <a:gd name="T17" fmla="*/ 150 w 150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6">
                      <a:moveTo>
                        <a:pt x="8" y="0"/>
                      </a:moveTo>
                      <a:cubicBezTo>
                        <a:pt x="3" y="15"/>
                        <a:pt x="1" y="30"/>
                        <a:pt x="1" y="46"/>
                      </a:cubicBezTo>
                      <a:cubicBezTo>
                        <a:pt x="0" y="94"/>
                        <a:pt x="23" y="138"/>
                        <a:pt x="62" y="166"/>
                      </a:cubicBezTo>
                      <a:lnTo>
                        <a:pt x="150" y="4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CCCC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1F7A7A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153" name="Freeform 24"/>
                <p:cNvSpPr>
                  <a:spLocks/>
                </p:cNvSpPr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4508" y="1513"/>
                  <a:ext cx="485" cy="510"/>
                </a:xfrm>
                <a:custGeom>
                  <a:avLst/>
                  <a:gdLst>
                    <a:gd name="T0" fmla="*/ 485 w 142"/>
                    <a:gd name="T1" fmla="*/ 0 h 149"/>
                    <a:gd name="T2" fmla="*/ 0 w 142"/>
                    <a:gd name="T3" fmla="*/ 353 h 149"/>
                    <a:gd name="T4" fmla="*/ 485 w 142"/>
                    <a:gd name="T5" fmla="*/ 510 h 149"/>
                    <a:gd name="T6" fmla="*/ 485 w 142"/>
                    <a:gd name="T7" fmla="*/ 0 h 1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2"/>
                    <a:gd name="T13" fmla="*/ 0 h 149"/>
                    <a:gd name="T14" fmla="*/ 142 w 142"/>
                    <a:gd name="T15" fmla="*/ 149 h 1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2" h="149">
                      <a:moveTo>
                        <a:pt x="142" y="0"/>
                      </a:moveTo>
                      <a:cubicBezTo>
                        <a:pt x="77" y="0"/>
                        <a:pt x="20" y="41"/>
                        <a:pt x="0" y="103"/>
                      </a:cubicBezTo>
                      <a:lnTo>
                        <a:pt x="142" y="14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</p:grpSp>
          <p:sp>
            <p:nvSpPr>
              <p:cNvPr id="4143" name="Freeform 25" descr="FOTO 01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63" y="1571"/>
                <a:ext cx="431" cy="461"/>
              </a:xfrm>
              <a:custGeom>
                <a:avLst/>
                <a:gdLst>
                  <a:gd name="T0" fmla="*/ 431 w 1385"/>
                  <a:gd name="T1" fmla="*/ 454 h 1485"/>
                  <a:gd name="T2" fmla="*/ 431 w 1385"/>
                  <a:gd name="T3" fmla="*/ 236 h 1485"/>
                  <a:gd name="T4" fmla="*/ 373 w 1385"/>
                  <a:gd name="T5" fmla="*/ 246 h 1485"/>
                  <a:gd name="T6" fmla="*/ 347 w 1385"/>
                  <a:gd name="T7" fmla="*/ 203 h 1485"/>
                  <a:gd name="T8" fmla="*/ 377 w 1385"/>
                  <a:gd name="T9" fmla="*/ 158 h 1485"/>
                  <a:gd name="T10" fmla="*/ 431 w 1385"/>
                  <a:gd name="T11" fmla="*/ 172 h 1485"/>
                  <a:gd name="T12" fmla="*/ 431 w 1385"/>
                  <a:gd name="T13" fmla="*/ 1 h 1485"/>
                  <a:gd name="T14" fmla="*/ 151 w 1385"/>
                  <a:gd name="T15" fmla="*/ 97 h 1485"/>
                  <a:gd name="T16" fmla="*/ 0 w 1385"/>
                  <a:gd name="T17" fmla="*/ 314 h 1485"/>
                  <a:gd name="T18" fmla="*/ 162 w 1385"/>
                  <a:gd name="T19" fmla="*/ 367 h 1485"/>
                  <a:gd name="T20" fmla="*/ 135 w 1385"/>
                  <a:gd name="T21" fmla="*/ 418 h 1485"/>
                  <a:gd name="T22" fmla="*/ 168 w 1385"/>
                  <a:gd name="T23" fmla="*/ 457 h 1485"/>
                  <a:gd name="T24" fmla="*/ 217 w 1385"/>
                  <a:gd name="T25" fmla="*/ 445 h 1485"/>
                  <a:gd name="T26" fmla="*/ 223 w 1385"/>
                  <a:gd name="T27" fmla="*/ 386 h 1485"/>
                  <a:gd name="T28" fmla="*/ 431 w 1385"/>
                  <a:gd name="T29" fmla="*/ 454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32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144" name="Freeform 26" descr="FOTO 0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10" y="1884"/>
                <a:ext cx="484" cy="507"/>
              </a:xfrm>
              <a:custGeom>
                <a:avLst/>
                <a:gdLst>
                  <a:gd name="T0" fmla="*/ 484 w 1556"/>
                  <a:gd name="T1" fmla="*/ 140 h 1629"/>
                  <a:gd name="T2" fmla="*/ 277 w 1556"/>
                  <a:gd name="T3" fmla="*/ 73 h 1629"/>
                  <a:gd name="T4" fmla="*/ 272 w 1556"/>
                  <a:gd name="T5" fmla="*/ 129 h 1629"/>
                  <a:gd name="T6" fmla="*/ 219 w 1556"/>
                  <a:gd name="T7" fmla="*/ 143 h 1629"/>
                  <a:gd name="T8" fmla="*/ 187 w 1556"/>
                  <a:gd name="T9" fmla="*/ 98 h 1629"/>
                  <a:gd name="T10" fmla="*/ 215 w 1556"/>
                  <a:gd name="T11" fmla="*/ 53 h 1629"/>
                  <a:gd name="T12" fmla="*/ 53 w 1556"/>
                  <a:gd name="T13" fmla="*/ 0 h 1629"/>
                  <a:gd name="T14" fmla="*/ 57 w 1556"/>
                  <a:gd name="T15" fmla="*/ 296 h 1629"/>
                  <a:gd name="T16" fmla="*/ 218 w 1556"/>
                  <a:gd name="T17" fmla="*/ 507 h 1629"/>
                  <a:gd name="T18" fmla="*/ 318 w 1556"/>
                  <a:gd name="T19" fmla="*/ 369 h 1629"/>
                  <a:gd name="T20" fmla="*/ 359 w 1556"/>
                  <a:gd name="T21" fmla="*/ 411 h 1629"/>
                  <a:gd name="T22" fmla="*/ 405 w 1556"/>
                  <a:gd name="T23" fmla="*/ 392 h 1629"/>
                  <a:gd name="T24" fmla="*/ 409 w 1556"/>
                  <a:gd name="T25" fmla="*/ 341 h 1629"/>
                  <a:gd name="T26" fmla="*/ 356 w 1556"/>
                  <a:gd name="T27" fmla="*/ 317 h 1629"/>
                  <a:gd name="T28" fmla="*/ 484 w 1556"/>
                  <a:gd name="T29" fmla="*/ 140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33"/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145" name="Freeform 27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727" y="2024"/>
                <a:ext cx="533" cy="465"/>
              </a:xfrm>
              <a:custGeom>
                <a:avLst/>
                <a:gdLst>
                  <a:gd name="T0" fmla="*/ 267 w 1713"/>
                  <a:gd name="T1" fmla="*/ 0 h 1498"/>
                  <a:gd name="T2" fmla="*/ 138 w 1713"/>
                  <a:gd name="T3" fmla="*/ 176 h 1498"/>
                  <a:gd name="T4" fmla="*/ 190 w 1713"/>
                  <a:gd name="T5" fmla="*/ 198 h 1498"/>
                  <a:gd name="T6" fmla="*/ 187 w 1713"/>
                  <a:gd name="T7" fmla="*/ 252 h 1498"/>
                  <a:gd name="T8" fmla="*/ 135 w 1713"/>
                  <a:gd name="T9" fmla="*/ 269 h 1498"/>
                  <a:gd name="T10" fmla="*/ 100 w 1713"/>
                  <a:gd name="T11" fmla="*/ 228 h 1498"/>
                  <a:gd name="T12" fmla="*/ 0 w 1713"/>
                  <a:gd name="T13" fmla="*/ 366 h 1498"/>
                  <a:gd name="T14" fmla="*/ 283 w 1713"/>
                  <a:gd name="T15" fmla="*/ 454 h 1498"/>
                  <a:gd name="T16" fmla="*/ 533 w 1713"/>
                  <a:gd name="T17" fmla="*/ 365 h 1498"/>
                  <a:gd name="T18" fmla="*/ 432 w 1713"/>
                  <a:gd name="T19" fmla="*/ 228 h 1498"/>
                  <a:gd name="T20" fmla="*/ 485 w 1713"/>
                  <a:gd name="T21" fmla="*/ 202 h 1498"/>
                  <a:gd name="T22" fmla="*/ 481 w 1713"/>
                  <a:gd name="T23" fmla="*/ 152 h 1498"/>
                  <a:gd name="T24" fmla="*/ 434 w 1713"/>
                  <a:gd name="T25" fmla="*/ 133 h 1498"/>
                  <a:gd name="T26" fmla="*/ 395 w 1713"/>
                  <a:gd name="T27" fmla="*/ 176 h 1498"/>
                  <a:gd name="T28" fmla="*/ 267 w 1713"/>
                  <a:gd name="T29" fmla="*/ 0 h 1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3"/>
                  <a:gd name="T46" fmla="*/ 0 h 1498"/>
                  <a:gd name="T47" fmla="*/ 1713 w 1713"/>
                  <a:gd name="T48" fmla="*/ 1498 h 1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3" h="1498">
                    <a:moveTo>
                      <a:pt x="857" y="0"/>
                    </a:moveTo>
                    <a:cubicBezTo>
                      <a:pt x="857" y="0"/>
                      <a:pt x="498" y="472"/>
                      <a:pt x="444" y="567"/>
                    </a:cubicBezTo>
                    <a:cubicBezTo>
                      <a:pt x="532" y="548"/>
                      <a:pt x="586" y="597"/>
                      <a:pt x="612" y="638"/>
                    </a:cubicBezTo>
                    <a:cubicBezTo>
                      <a:pt x="638" y="679"/>
                      <a:pt x="646" y="756"/>
                      <a:pt x="601" y="812"/>
                    </a:cubicBezTo>
                    <a:cubicBezTo>
                      <a:pt x="536" y="882"/>
                      <a:pt x="479" y="880"/>
                      <a:pt x="433" y="867"/>
                    </a:cubicBezTo>
                    <a:cubicBezTo>
                      <a:pt x="387" y="854"/>
                      <a:pt x="339" y="809"/>
                      <a:pt x="322" y="735"/>
                    </a:cubicBezTo>
                    <a:cubicBezTo>
                      <a:pt x="269" y="809"/>
                      <a:pt x="161" y="958"/>
                      <a:pt x="0" y="1179"/>
                    </a:cubicBezTo>
                    <a:cubicBezTo>
                      <a:pt x="430" y="1498"/>
                      <a:pt x="909" y="1461"/>
                      <a:pt x="909" y="1461"/>
                    </a:cubicBezTo>
                    <a:cubicBezTo>
                      <a:pt x="909" y="1461"/>
                      <a:pt x="1305" y="1475"/>
                      <a:pt x="1713" y="1177"/>
                    </a:cubicBezTo>
                    <a:cubicBezTo>
                      <a:pt x="1713" y="1177"/>
                      <a:pt x="1450" y="817"/>
                      <a:pt x="1390" y="735"/>
                    </a:cubicBezTo>
                    <a:cubicBezTo>
                      <a:pt x="1485" y="748"/>
                      <a:pt x="1538" y="689"/>
                      <a:pt x="1558" y="652"/>
                    </a:cubicBezTo>
                    <a:cubicBezTo>
                      <a:pt x="1583" y="610"/>
                      <a:pt x="1583" y="540"/>
                      <a:pt x="1546" y="490"/>
                    </a:cubicBezTo>
                    <a:cubicBezTo>
                      <a:pt x="1500" y="440"/>
                      <a:pt x="1466" y="424"/>
                      <a:pt x="1395" y="428"/>
                    </a:cubicBezTo>
                    <a:cubicBezTo>
                      <a:pt x="1343" y="439"/>
                      <a:pt x="1273" y="478"/>
                      <a:pt x="1269" y="567"/>
                    </a:cubicBezTo>
                    <a:cubicBezTo>
                      <a:pt x="1063" y="285"/>
                      <a:pt x="857" y="0"/>
                      <a:pt x="857" y="0"/>
                    </a:cubicBezTo>
                    <a:close/>
                  </a:path>
                </a:pathLst>
              </a:custGeom>
              <a:solidFill>
                <a:srgbClr val="DDDDDD"/>
              </a:solid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146" name="Freeform 28" descr="FOTO 03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994" y="1861"/>
                <a:ext cx="479" cy="529"/>
              </a:xfrm>
              <a:custGeom>
                <a:avLst/>
                <a:gdLst>
                  <a:gd name="T0" fmla="*/ 0 w 1541"/>
                  <a:gd name="T1" fmla="*/ 163 h 1703"/>
                  <a:gd name="T2" fmla="*/ 128 w 1541"/>
                  <a:gd name="T3" fmla="*/ 339 h 1703"/>
                  <a:gd name="T4" fmla="*/ 165 w 1541"/>
                  <a:gd name="T5" fmla="*/ 296 h 1703"/>
                  <a:gd name="T6" fmla="*/ 215 w 1541"/>
                  <a:gd name="T7" fmla="*/ 316 h 1703"/>
                  <a:gd name="T8" fmla="*/ 216 w 1541"/>
                  <a:gd name="T9" fmla="*/ 371 h 1703"/>
                  <a:gd name="T10" fmla="*/ 166 w 1541"/>
                  <a:gd name="T11" fmla="*/ 391 h 1703"/>
                  <a:gd name="T12" fmla="*/ 266 w 1541"/>
                  <a:gd name="T13" fmla="*/ 529 h 1703"/>
                  <a:gd name="T14" fmla="*/ 437 w 1541"/>
                  <a:gd name="T15" fmla="*/ 288 h 1703"/>
                  <a:gd name="T16" fmla="*/ 430 w 1541"/>
                  <a:gd name="T17" fmla="*/ 23 h 1703"/>
                  <a:gd name="T18" fmla="*/ 269 w 1541"/>
                  <a:gd name="T19" fmla="*/ 76 h 1703"/>
                  <a:gd name="T20" fmla="*/ 260 w 1541"/>
                  <a:gd name="T21" fmla="*/ 18 h 1703"/>
                  <a:gd name="T22" fmla="*/ 211 w 1541"/>
                  <a:gd name="T23" fmla="*/ 6 h 1703"/>
                  <a:gd name="T24" fmla="*/ 178 w 1541"/>
                  <a:gd name="T25" fmla="*/ 45 h 1703"/>
                  <a:gd name="T26" fmla="*/ 207 w 1541"/>
                  <a:gd name="T27" fmla="*/ 95 h 1703"/>
                  <a:gd name="T28" fmla="*/ 0 w 1541"/>
                  <a:gd name="T29" fmla="*/ 163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34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147" name="Freeform 29" descr="FOTO 02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909" y="1571"/>
                <a:ext cx="515" cy="453"/>
              </a:xfrm>
              <a:custGeom>
                <a:avLst/>
                <a:gdLst>
                  <a:gd name="T0" fmla="*/ 84 w 1656"/>
                  <a:gd name="T1" fmla="*/ 453 h 1456"/>
                  <a:gd name="T2" fmla="*/ 292 w 1656"/>
                  <a:gd name="T3" fmla="*/ 386 h 1456"/>
                  <a:gd name="T4" fmla="*/ 262 w 1656"/>
                  <a:gd name="T5" fmla="*/ 337 h 1456"/>
                  <a:gd name="T6" fmla="*/ 297 w 1656"/>
                  <a:gd name="T7" fmla="*/ 296 h 1456"/>
                  <a:gd name="T8" fmla="*/ 348 w 1656"/>
                  <a:gd name="T9" fmla="*/ 313 h 1456"/>
                  <a:gd name="T10" fmla="*/ 353 w 1656"/>
                  <a:gd name="T11" fmla="*/ 366 h 1456"/>
                  <a:gd name="T12" fmla="*/ 515 w 1656"/>
                  <a:gd name="T13" fmla="*/ 313 h 1456"/>
                  <a:gd name="T14" fmla="*/ 338 w 1656"/>
                  <a:gd name="T15" fmla="*/ 76 h 1456"/>
                  <a:gd name="T16" fmla="*/ 84 w 1656"/>
                  <a:gd name="T17" fmla="*/ 0 h 1456"/>
                  <a:gd name="T18" fmla="*/ 84 w 1656"/>
                  <a:gd name="T19" fmla="*/ 170 h 1456"/>
                  <a:gd name="T20" fmla="*/ 27 w 1656"/>
                  <a:gd name="T21" fmla="*/ 161 h 1456"/>
                  <a:gd name="T22" fmla="*/ 0 w 1656"/>
                  <a:gd name="T23" fmla="*/ 204 h 1456"/>
                  <a:gd name="T24" fmla="*/ 27 w 1656"/>
                  <a:gd name="T25" fmla="*/ 247 h 1456"/>
                  <a:gd name="T26" fmla="*/ 84 w 1656"/>
                  <a:gd name="T27" fmla="*/ 235 h 1456"/>
                  <a:gd name="T28" fmla="*/ 84 w 1656"/>
                  <a:gd name="T29" fmla="*/ 453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35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pic>
            <p:nvPicPr>
              <p:cNvPr id="4148" name="Picture 30" descr="MC900434822[1]"/>
              <p:cNvPicPr>
                <a:picLocks noChangeArrowheads="1"/>
              </p:cNvPicPr>
              <p:nvPr>
                <p:custDataLst>
                  <p:tags r:id="rId23"/>
                </p:custDataLst>
              </p:nvPr>
            </p:nvPicPr>
            <p:blipFill>
              <a:blip r:embed="rId36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grayscl/>
              </a:blip>
              <a:srcRect/>
              <a:stretch>
                <a:fillRect/>
              </a:stretch>
            </p:blipFill>
            <p:spPr bwMode="auto">
              <a:xfrm>
                <a:off x="4845" y="2203"/>
                <a:ext cx="294" cy="238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</p:pic>
        </p:grpSp>
        <p:grpSp>
          <p:nvGrpSpPr>
            <p:cNvPr id="9" name="Group 31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4880" y="2070"/>
              <a:ext cx="126" cy="133"/>
              <a:chOff x="1220" y="961"/>
              <a:chExt cx="205" cy="217"/>
            </a:xfrm>
          </p:grpSpPr>
          <p:grpSp>
            <p:nvGrpSpPr>
              <p:cNvPr id="10" name="Group 32"/>
              <p:cNvGrpSpPr>
                <a:grpSpLocks/>
              </p:cNvGrpSpPr>
              <p:nvPr>
                <p:custDataLst>
                  <p:tags r:id="rId16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38" name="Oval 33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39" name="Oval 34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40" name="Oval 35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48" name="Oval 36"/>
                <p:cNvSpPr>
                  <a:spLocks noChangeArrowheads="1"/>
                </p:cNvSpPr>
                <p:nvPr/>
              </p:nvSpPr>
              <p:spPr bwMode="gray">
                <a:xfrm>
                  <a:off x="65" y="1349"/>
                  <a:ext cx="662" cy="587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37" name="Rectangle 37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 flipH="1">
                <a:off x="1279" y="961"/>
                <a:ext cx="91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1</a:t>
                </a:r>
              </a:p>
            </p:txBody>
          </p:sp>
        </p:grpSp>
        <p:grpSp>
          <p:nvGrpSpPr>
            <p:cNvPr id="11" name="Group 38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5872" y="2070"/>
              <a:ext cx="126" cy="133"/>
              <a:chOff x="1220" y="961"/>
              <a:chExt cx="205" cy="217"/>
            </a:xfrm>
          </p:grpSpPr>
          <p:grpSp>
            <p:nvGrpSpPr>
              <p:cNvPr id="12" name="Group 39"/>
              <p:cNvGrpSpPr>
                <a:grpSpLocks/>
              </p:cNvGrpSpPr>
              <p:nvPr>
                <p:custDataLst>
                  <p:tags r:id="rId14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32" name="Oval 40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33" name="Oval 41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34" name="Oval 42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55" name="Oval 43"/>
                <p:cNvSpPr>
                  <a:spLocks noChangeArrowheads="1"/>
                </p:cNvSpPr>
                <p:nvPr/>
              </p:nvSpPr>
              <p:spPr bwMode="gray">
                <a:xfrm>
                  <a:off x="67" y="1349"/>
                  <a:ext cx="662" cy="587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31" name="Rectangle 44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 flipH="1">
                <a:off x="1279" y="961"/>
                <a:ext cx="91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2</a:t>
                </a:r>
              </a:p>
            </p:txBody>
          </p:sp>
        </p:grpSp>
        <p:grpSp>
          <p:nvGrpSpPr>
            <p:cNvPr id="13" name="Group 4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4562" y="3000"/>
              <a:ext cx="125" cy="133"/>
              <a:chOff x="1220" y="961"/>
              <a:chExt cx="205" cy="217"/>
            </a:xfrm>
          </p:grpSpPr>
          <p:grpSp>
            <p:nvGrpSpPr>
              <p:cNvPr id="14" name="Group 46"/>
              <p:cNvGrpSpPr>
                <a:grpSpLocks/>
              </p:cNvGrpSpPr>
              <p:nvPr>
                <p:custDataLst>
                  <p:tags r:id="rId12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26" name="Oval 47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27" name="Oval 48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28" name="Oval 49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62" name="Oval 50"/>
                <p:cNvSpPr>
                  <a:spLocks noChangeArrowheads="1"/>
                </p:cNvSpPr>
                <p:nvPr/>
              </p:nvSpPr>
              <p:spPr bwMode="gray">
                <a:xfrm>
                  <a:off x="68" y="1358"/>
                  <a:ext cx="661" cy="569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25" name="Rectangle 5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 flipH="1">
                <a:off x="1277" y="961"/>
                <a:ext cx="9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5</a:t>
                </a:r>
              </a:p>
            </p:txBody>
          </p:sp>
        </p:grpSp>
        <p:grpSp>
          <p:nvGrpSpPr>
            <p:cNvPr id="15" name="Group 52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187" y="3000"/>
              <a:ext cx="126" cy="133"/>
              <a:chOff x="1220" y="961"/>
              <a:chExt cx="205" cy="217"/>
            </a:xfrm>
          </p:grpSpPr>
          <p:grpSp>
            <p:nvGrpSpPr>
              <p:cNvPr id="16" name="Group 53"/>
              <p:cNvGrpSpPr>
                <a:grpSpLocks/>
              </p:cNvGrpSpPr>
              <p:nvPr>
                <p:custDataLst>
                  <p:tags r:id="rId10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20" name="Oval 54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21" name="Oval 55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22" name="Oval 56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69" name="Oval 57"/>
                <p:cNvSpPr>
                  <a:spLocks noChangeArrowheads="1"/>
                </p:cNvSpPr>
                <p:nvPr/>
              </p:nvSpPr>
              <p:spPr bwMode="gray">
                <a:xfrm>
                  <a:off x="65" y="1358"/>
                  <a:ext cx="662" cy="569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19" name="Rectangle 58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 flipH="1">
                <a:off x="1279" y="961"/>
                <a:ext cx="91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3</a:t>
                </a:r>
              </a:p>
            </p:txBody>
          </p:sp>
        </p:grpSp>
        <p:grpSp>
          <p:nvGrpSpPr>
            <p:cNvPr id="17" name="Group 59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5376" y="3591"/>
              <a:ext cx="125" cy="133"/>
              <a:chOff x="1220" y="960"/>
              <a:chExt cx="205" cy="217"/>
            </a:xfrm>
          </p:grpSpPr>
          <p:grpSp>
            <p:nvGrpSpPr>
              <p:cNvPr id="18" name="Group 60"/>
              <p:cNvGrpSpPr>
                <a:grpSpLocks/>
              </p:cNvGrpSpPr>
              <p:nvPr>
                <p:custDataLst>
                  <p:tags r:id="rId8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14" name="Oval 6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15" name="Oval 6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16" name="Oval 6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76" name="Oval 64"/>
                <p:cNvSpPr>
                  <a:spLocks noChangeArrowheads="1"/>
                </p:cNvSpPr>
                <p:nvPr/>
              </p:nvSpPr>
              <p:spPr bwMode="gray">
                <a:xfrm>
                  <a:off x="67" y="1362"/>
                  <a:ext cx="661" cy="575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13" name="Rectangle 65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 flipH="1">
                <a:off x="1277" y="960"/>
                <a:ext cx="9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4</a:t>
                </a:r>
              </a:p>
            </p:txBody>
          </p:sp>
        </p:grpSp>
      </p:grpSp>
      <p:sp>
        <p:nvSpPr>
          <p:cNvPr id="68" name="Seta para a direita 67"/>
          <p:cNvSpPr/>
          <p:nvPr/>
        </p:nvSpPr>
        <p:spPr>
          <a:xfrm>
            <a:off x="7643813" y="5715000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69" name="CaixaDeTexto 75"/>
          <p:cNvSpPr txBox="1">
            <a:spLocks noChangeArrowheads="1"/>
          </p:cNvSpPr>
          <p:nvPr/>
        </p:nvSpPr>
        <p:spPr bwMode="auto">
          <a:xfrm>
            <a:off x="907923" y="865957"/>
            <a:ext cx="77422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Macroestratégias</a:t>
            </a:r>
          </a:p>
        </p:txBody>
      </p:sp>
      <p:sp>
        <p:nvSpPr>
          <p:cNvPr id="70" name="Rectangle 11"/>
          <p:cNvSpPr>
            <a:spLocks noChangeArrowheads="1"/>
          </p:cNvSpPr>
          <p:nvPr/>
        </p:nvSpPr>
        <p:spPr bwMode="auto">
          <a:xfrm>
            <a:off x="3379808" y="1731669"/>
            <a:ext cx="5241905" cy="3939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3200" b="1" dirty="0">
                <a:latin typeface="Tahoma" pitchFamily="34" charset="0"/>
                <a:cs typeface="Tahoma" pitchFamily="34" charset="0"/>
              </a:rPr>
              <a:t>11-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Comunicar para a rede e engajá-la em torno da missão e dos objetivos do Programa</a:t>
            </a:r>
            <a:r>
              <a:rPr lang="pt-BR" sz="3200" b="1" dirty="0">
                <a:latin typeface="Tahoma" pitchFamily="34" charset="0"/>
                <a:cs typeface="Tahoma" pitchFamily="34" charset="0"/>
              </a:rPr>
              <a:t>, criando uma Secretaria aberta, transparente e próxima dos profissionais de educação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>
              <a:defRPr/>
            </a:pPr>
            <a:fld id="{22CC16DD-2FEC-4E94-8574-14283D1271E6}" type="slidenum">
              <a:rPr lang="pt-BR"/>
              <a:pPr algn="l">
                <a:defRPr/>
              </a:pPr>
              <a:t>17</a:t>
            </a:fld>
            <a:r>
              <a:rPr lang="pt-BR" dirty="0"/>
              <a:t> </a:t>
            </a:r>
          </a:p>
        </p:txBody>
      </p:sp>
      <p:graphicFrame>
        <p:nvGraphicFramePr>
          <p:cNvPr id="4098" name="AutoShape 6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32776" name="think-cell Slide" r:id="rId31" imgW="0" imgH="0" progId="">
              <p:embed/>
            </p:oleObj>
          </a:graphicData>
        </a:graphic>
      </p:graphicFrame>
      <p:sp>
        <p:nvSpPr>
          <p:cNvPr id="474116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27000000">
            <a:off x="1919546" y="3686838"/>
            <a:ext cx="2359053" cy="202462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rot="10800000" vert="eaVert" wrap="none" lIns="93296" tIns="46648" rIns="93296" bIns="4664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latin typeface="+mn-lt"/>
              <a:cs typeface="+mn-cs"/>
            </a:endParaRPr>
          </a:p>
        </p:txBody>
      </p:sp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943256" y="2816484"/>
            <a:ext cx="1947165" cy="1943171"/>
            <a:chOff x="4481" y="1854"/>
            <a:chExt cx="1912" cy="1908"/>
          </a:xfrm>
        </p:grpSpPr>
        <p:grpSp>
          <p:nvGrpSpPr>
            <p:cNvPr id="3" name="Group 18"/>
            <p:cNvGrpSpPr>
              <a:grpSpLocks/>
            </p:cNvGrpSpPr>
            <p:nvPr/>
          </p:nvGrpSpPr>
          <p:grpSpPr bwMode="auto">
            <a:xfrm>
              <a:off x="4481" y="1854"/>
              <a:ext cx="1912" cy="1908"/>
              <a:chOff x="4481" y="1510"/>
              <a:chExt cx="1023" cy="1021"/>
            </a:xfrm>
          </p:grpSpPr>
          <p:grpSp>
            <p:nvGrpSpPr>
              <p:cNvPr id="4" name="Group 19"/>
              <p:cNvGrpSpPr>
                <a:grpSpLocks/>
              </p:cNvGrpSpPr>
              <p:nvPr/>
            </p:nvGrpSpPr>
            <p:grpSpPr bwMode="auto">
              <a:xfrm>
                <a:off x="4481" y="1510"/>
                <a:ext cx="1023" cy="1021"/>
                <a:chOff x="4481" y="1510"/>
                <a:chExt cx="1023" cy="1021"/>
              </a:xfrm>
            </p:grpSpPr>
            <p:sp>
              <p:nvSpPr>
                <p:cNvPr id="4149" name="Freeform 20"/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4993" y="1510"/>
                  <a:ext cx="484" cy="513"/>
                </a:xfrm>
                <a:custGeom>
                  <a:avLst/>
                  <a:gdLst>
                    <a:gd name="T0" fmla="*/ 484 w 142"/>
                    <a:gd name="T1" fmla="*/ 352 h 150"/>
                    <a:gd name="T2" fmla="*/ 0 w 142"/>
                    <a:gd name="T3" fmla="*/ 3 h 150"/>
                    <a:gd name="T4" fmla="*/ 0 w 142"/>
                    <a:gd name="T5" fmla="*/ 3 h 150"/>
                    <a:gd name="T6" fmla="*/ 0 w 142"/>
                    <a:gd name="T7" fmla="*/ 513 h 150"/>
                    <a:gd name="T8" fmla="*/ 484 w 142"/>
                    <a:gd name="T9" fmla="*/ 352 h 15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2"/>
                    <a:gd name="T16" fmla="*/ 0 h 150"/>
                    <a:gd name="T17" fmla="*/ 142 w 142"/>
                    <a:gd name="T18" fmla="*/ 150 h 15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2" h="150">
                      <a:moveTo>
                        <a:pt x="142" y="103"/>
                      </a:moveTo>
                      <a:cubicBezTo>
                        <a:pt x="122" y="42"/>
                        <a:pt x="65" y="1"/>
                        <a:pt x="0" y="1"/>
                      </a:cubicBez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50"/>
                      </a:lnTo>
                      <a:lnTo>
                        <a:pt x="142" y="103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150" name="Freeform 21"/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4993" y="1862"/>
                  <a:ext cx="511" cy="573"/>
                </a:xfrm>
                <a:custGeom>
                  <a:avLst/>
                  <a:gdLst>
                    <a:gd name="T0" fmla="*/ 300 w 150"/>
                    <a:gd name="T1" fmla="*/ 573 h 168"/>
                    <a:gd name="T2" fmla="*/ 511 w 150"/>
                    <a:gd name="T3" fmla="*/ 160 h 168"/>
                    <a:gd name="T4" fmla="*/ 484 w 150"/>
                    <a:gd name="T5" fmla="*/ 0 h 168"/>
                    <a:gd name="T6" fmla="*/ 0 w 150"/>
                    <a:gd name="T7" fmla="*/ 160 h 168"/>
                    <a:gd name="T8" fmla="*/ 300 w 150"/>
                    <a:gd name="T9" fmla="*/ 573 h 16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8"/>
                    <a:gd name="T17" fmla="*/ 150 w 150"/>
                    <a:gd name="T18" fmla="*/ 168 h 16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8">
                      <a:moveTo>
                        <a:pt x="88" y="168"/>
                      </a:moveTo>
                      <a:cubicBezTo>
                        <a:pt x="127" y="140"/>
                        <a:pt x="150" y="95"/>
                        <a:pt x="150" y="47"/>
                      </a:cubicBezTo>
                      <a:cubicBezTo>
                        <a:pt x="150" y="31"/>
                        <a:pt x="147" y="15"/>
                        <a:pt x="142" y="0"/>
                      </a:cubicBezTo>
                      <a:lnTo>
                        <a:pt x="0" y="47"/>
                      </a:lnTo>
                      <a:lnTo>
                        <a:pt x="88" y="168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151" name="Freeform 22"/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4693" y="2023"/>
                  <a:ext cx="599" cy="508"/>
                </a:xfrm>
                <a:custGeom>
                  <a:avLst/>
                  <a:gdLst>
                    <a:gd name="T0" fmla="*/ 0 w 176"/>
                    <a:gd name="T1" fmla="*/ 409 h 149"/>
                    <a:gd name="T2" fmla="*/ 300 w 176"/>
                    <a:gd name="T3" fmla="*/ 508 h 149"/>
                    <a:gd name="T4" fmla="*/ 599 w 176"/>
                    <a:gd name="T5" fmla="*/ 413 h 149"/>
                    <a:gd name="T6" fmla="*/ 300 w 176"/>
                    <a:gd name="T7" fmla="*/ 0 h 149"/>
                    <a:gd name="T8" fmla="*/ 0 w 176"/>
                    <a:gd name="T9" fmla="*/ 409 h 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6"/>
                    <a:gd name="T16" fmla="*/ 0 h 149"/>
                    <a:gd name="T17" fmla="*/ 176 w 176"/>
                    <a:gd name="T18" fmla="*/ 149 h 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6" h="149">
                      <a:moveTo>
                        <a:pt x="0" y="120"/>
                      </a:moveTo>
                      <a:cubicBezTo>
                        <a:pt x="25" y="139"/>
                        <a:pt x="56" y="149"/>
                        <a:pt x="88" y="149"/>
                      </a:cubicBezTo>
                      <a:cubicBezTo>
                        <a:pt x="120" y="149"/>
                        <a:pt x="150" y="140"/>
                        <a:pt x="176" y="121"/>
                      </a:cubicBezTo>
                      <a:lnTo>
                        <a:pt x="88" y="0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152" name="Freeform 23"/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4481" y="1865"/>
                  <a:ext cx="512" cy="567"/>
                </a:xfrm>
                <a:custGeom>
                  <a:avLst/>
                  <a:gdLst>
                    <a:gd name="T0" fmla="*/ 27 w 150"/>
                    <a:gd name="T1" fmla="*/ 0 h 166"/>
                    <a:gd name="T2" fmla="*/ 3 w 150"/>
                    <a:gd name="T3" fmla="*/ 157 h 166"/>
                    <a:gd name="T4" fmla="*/ 212 w 150"/>
                    <a:gd name="T5" fmla="*/ 567 h 166"/>
                    <a:gd name="T6" fmla="*/ 512 w 150"/>
                    <a:gd name="T7" fmla="*/ 157 h 166"/>
                    <a:gd name="T8" fmla="*/ 27 w 150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50"/>
                    <a:gd name="T16" fmla="*/ 0 h 166"/>
                    <a:gd name="T17" fmla="*/ 150 w 150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50" h="166">
                      <a:moveTo>
                        <a:pt x="8" y="0"/>
                      </a:moveTo>
                      <a:cubicBezTo>
                        <a:pt x="3" y="15"/>
                        <a:pt x="1" y="30"/>
                        <a:pt x="1" y="46"/>
                      </a:cubicBezTo>
                      <a:cubicBezTo>
                        <a:pt x="0" y="94"/>
                        <a:pt x="23" y="138"/>
                        <a:pt x="62" y="166"/>
                      </a:cubicBezTo>
                      <a:lnTo>
                        <a:pt x="150" y="4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CCCC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1F7A7A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  <p:sp>
              <p:nvSpPr>
                <p:cNvPr id="4153" name="Freeform 24"/>
                <p:cNvSpPr>
                  <a:spLocks/>
                </p:cNvSpPr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4508" y="1513"/>
                  <a:ext cx="485" cy="510"/>
                </a:xfrm>
                <a:custGeom>
                  <a:avLst/>
                  <a:gdLst>
                    <a:gd name="T0" fmla="*/ 485 w 142"/>
                    <a:gd name="T1" fmla="*/ 0 h 149"/>
                    <a:gd name="T2" fmla="*/ 0 w 142"/>
                    <a:gd name="T3" fmla="*/ 353 h 149"/>
                    <a:gd name="T4" fmla="*/ 485 w 142"/>
                    <a:gd name="T5" fmla="*/ 510 h 149"/>
                    <a:gd name="T6" fmla="*/ 485 w 142"/>
                    <a:gd name="T7" fmla="*/ 0 h 1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2"/>
                    <a:gd name="T13" fmla="*/ 0 h 149"/>
                    <a:gd name="T14" fmla="*/ 142 w 142"/>
                    <a:gd name="T15" fmla="*/ 149 h 1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2" h="149">
                      <a:moveTo>
                        <a:pt x="142" y="0"/>
                      </a:moveTo>
                      <a:cubicBezTo>
                        <a:pt x="77" y="0"/>
                        <a:pt x="20" y="41"/>
                        <a:pt x="0" y="103"/>
                      </a:cubicBezTo>
                      <a:lnTo>
                        <a:pt x="142" y="149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DDDDDD"/>
                </a:solidFill>
                <a:ln w="9525">
                  <a:noFill/>
                  <a:round/>
                  <a:headEnd/>
                  <a:tailEnd/>
                </a:ln>
                <a:effectLst>
                  <a:prstShdw prst="shdw17" dist="17961" dir="2700000">
                    <a:srgbClr val="858585"/>
                  </a:prstShdw>
                </a:effectLst>
              </p:spPr>
              <p:txBody>
                <a:bodyPr/>
                <a:lstStyle/>
                <a:p>
                  <a:endParaRPr lang="pt-BR" dirty="0"/>
                </a:p>
              </p:txBody>
            </p:sp>
          </p:grpSp>
          <p:sp>
            <p:nvSpPr>
              <p:cNvPr id="4143" name="Freeform 25" descr="FOTO 01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63" y="1571"/>
                <a:ext cx="431" cy="461"/>
              </a:xfrm>
              <a:custGeom>
                <a:avLst/>
                <a:gdLst>
                  <a:gd name="T0" fmla="*/ 431 w 1385"/>
                  <a:gd name="T1" fmla="*/ 454 h 1485"/>
                  <a:gd name="T2" fmla="*/ 431 w 1385"/>
                  <a:gd name="T3" fmla="*/ 236 h 1485"/>
                  <a:gd name="T4" fmla="*/ 373 w 1385"/>
                  <a:gd name="T5" fmla="*/ 246 h 1485"/>
                  <a:gd name="T6" fmla="*/ 347 w 1385"/>
                  <a:gd name="T7" fmla="*/ 203 h 1485"/>
                  <a:gd name="T8" fmla="*/ 377 w 1385"/>
                  <a:gd name="T9" fmla="*/ 158 h 1485"/>
                  <a:gd name="T10" fmla="*/ 431 w 1385"/>
                  <a:gd name="T11" fmla="*/ 172 h 1485"/>
                  <a:gd name="T12" fmla="*/ 431 w 1385"/>
                  <a:gd name="T13" fmla="*/ 1 h 1485"/>
                  <a:gd name="T14" fmla="*/ 151 w 1385"/>
                  <a:gd name="T15" fmla="*/ 97 h 1485"/>
                  <a:gd name="T16" fmla="*/ 0 w 1385"/>
                  <a:gd name="T17" fmla="*/ 314 h 1485"/>
                  <a:gd name="T18" fmla="*/ 162 w 1385"/>
                  <a:gd name="T19" fmla="*/ 367 h 1485"/>
                  <a:gd name="T20" fmla="*/ 135 w 1385"/>
                  <a:gd name="T21" fmla="*/ 418 h 1485"/>
                  <a:gd name="T22" fmla="*/ 168 w 1385"/>
                  <a:gd name="T23" fmla="*/ 457 h 1485"/>
                  <a:gd name="T24" fmla="*/ 217 w 1385"/>
                  <a:gd name="T25" fmla="*/ 445 h 1485"/>
                  <a:gd name="T26" fmla="*/ 223 w 1385"/>
                  <a:gd name="T27" fmla="*/ 386 h 1485"/>
                  <a:gd name="T28" fmla="*/ 431 w 1385"/>
                  <a:gd name="T29" fmla="*/ 454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32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144" name="Freeform 26" descr="FOTO 0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10" y="1884"/>
                <a:ext cx="484" cy="507"/>
              </a:xfrm>
              <a:custGeom>
                <a:avLst/>
                <a:gdLst>
                  <a:gd name="T0" fmla="*/ 484 w 1556"/>
                  <a:gd name="T1" fmla="*/ 140 h 1629"/>
                  <a:gd name="T2" fmla="*/ 277 w 1556"/>
                  <a:gd name="T3" fmla="*/ 73 h 1629"/>
                  <a:gd name="T4" fmla="*/ 272 w 1556"/>
                  <a:gd name="T5" fmla="*/ 129 h 1629"/>
                  <a:gd name="T6" fmla="*/ 219 w 1556"/>
                  <a:gd name="T7" fmla="*/ 143 h 1629"/>
                  <a:gd name="T8" fmla="*/ 187 w 1556"/>
                  <a:gd name="T9" fmla="*/ 98 h 1629"/>
                  <a:gd name="T10" fmla="*/ 215 w 1556"/>
                  <a:gd name="T11" fmla="*/ 53 h 1629"/>
                  <a:gd name="T12" fmla="*/ 53 w 1556"/>
                  <a:gd name="T13" fmla="*/ 0 h 1629"/>
                  <a:gd name="T14" fmla="*/ 57 w 1556"/>
                  <a:gd name="T15" fmla="*/ 296 h 1629"/>
                  <a:gd name="T16" fmla="*/ 218 w 1556"/>
                  <a:gd name="T17" fmla="*/ 507 h 1629"/>
                  <a:gd name="T18" fmla="*/ 318 w 1556"/>
                  <a:gd name="T19" fmla="*/ 369 h 1629"/>
                  <a:gd name="T20" fmla="*/ 359 w 1556"/>
                  <a:gd name="T21" fmla="*/ 411 h 1629"/>
                  <a:gd name="T22" fmla="*/ 405 w 1556"/>
                  <a:gd name="T23" fmla="*/ 392 h 1629"/>
                  <a:gd name="T24" fmla="*/ 409 w 1556"/>
                  <a:gd name="T25" fmla="*/ 341 h 1629"/>
                  <a:gd name="T26" fmla="*/ 356 w 1556"/>
                  <a:gd name="T27" fmla="*/ 317 h 1629"/>
                  <a:gd name="T28" fmla="*/ 484 w 1556"/>
                  <a:gd name="T29" fmla="*/ 140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33"/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145" name="Freeform 27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727" y="2024"/>
                <a:ext cx="533" cy="465"/>
              </a:xfrm>
              <a:custGeom>
                <a:avLst/>
                <a:gdLst>
                  <a:gd name="T0" fmla="*/ 267 w 1713"/>
                  <a:gd name="T1" fmla="*/ 0 h 1498"/>
                  <a:gd name="T2" fmla="*/ 138 w 1713"/>
                  <a:gd name="T3" fmla="*/ 176 h 1498"/>
                  <a:gd name="T4" fmla="*/ 190 w 1713"/>
                  <a:gd name="T5" fmla="*/ 198 h 1498"/>
                  <a:gd name="T6" fmla="*/ 187 w 1713"/>
                  <a:gd name="T7" fmla="*/ 252 h 1498"/>
                  <a:gd name="T8" fmla="*/ 135 w 1713"/>
                  <a:gd name="T9" fmla="*/ 269 h 1498"/>
                  <a:gd name="T10" fmla="*/ 100 w 1713"/>
                  <a:gd name="T11" fmla="*/ 228 h 1498"/>
                  <a:gd name="T12" fmla="*/ 0 w 1713"/>
                  <a:gd name="T13" fmla="*/ 366 h 1498"/>
                  <a:gd name="T14" fmla="*/ 283 w 1713"/>
                  <a:gd name="T15" fmla="*/ 454 h 1498"/>
                  <a:gd name="T16" fmla="*/ 533 w 1713"/>
                  <a:gd name="T17" fmla="*/ 365 h 1498"/>
                  <a:gd name="T18" fmla="*/ 432 w 1713"/>
                  <a:gd name="T19" fmla="*/ 228 h 1498"/>
                  <a:gd name="T20" fmla="*/ 485 w 1713"/>
                  <a:gd name="T21" fmla="*/ 202 h 1498"/>
                  <a:gd name="T22" fmla="*/ 481 w 1713"/>
                  <a:gd name="T23" fmla="*/ 152 h 1498"/>
                  <a:gd name="T24" fmla="*/ 434 w 1713"/>
                  <a:gd name="T25" fmla="*/ 133 h 1498"/>
                  <a:gd name="T26" fmla="*/ 395 w 1713"/>
                  <a:gd name="T27" fmla="*/ 176 h 1498"/>
                  <a:gd name="T28" fmla="*/ 267 w 1713"/>
                  <a:gd name="T29" fmla="*/ 0 h 1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13"/>
                  <a:gd name="T46" fmla="*/ 0 h 1498"/>
                  <a:gd name="T47" fmla="*/ 1713 w 1713"/>
                  <a:gd name="T48" fmla="*/ 1498 h 1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13" h="1498">
                    <a:moveTo>
                      <a:pt x="857" y="0"/>
                    </a:moveTo>
                    <a:cubicBezTo>
                      <a:pt x="857" y="0"/>
                      <a:pt x="498" y="472"/>
                      <a:pt x="444" y="567"/>
                    </a:cubicBezTo>
                    <a:cubicBezTo>
                      <a:pt x="532" y="548"/>
                      <a:pt x="586" y="597"/>
                      <a:pt x="612" y="638"/>
                    </a:cubicBezTo>
                    <a:cubicBezTo>
                      <a:pt x="638" y="679"/>
                      <a:pt x="646" y="756"/>
                      <a:pt x="601" y="812"/>
                    </a:cubicBezTo>
                    <a:cubicBezTo>
                      <a:pt x="536" y="882"/>
                      <a:pt x="479" y="880"/>
                      <a:pt x="433" y="867"/>
                    </a:cubicBezTo>
                    <a:cubicBezTo>
                      <a:pt x="387" y="854"/>
                      <a:pt x="339" y="809"/>
                      <a:pt x="322" y="735"/>
                    </a:cubicBezTo>
                    <a:cubicBezTo>
                      <a:pt x="269" y="809"/>
                      <a:pt x="161" y="958"/>
                      <a:pt x="0" y="1179"/>
                    </a:cubicBezTo>
                    <a:cubicBezTo>
                      <a:pt x="430" y="1498"/>
                      <a:pt x="909" y="1461"/>
                      <a:pt x="909" y="1461"/>
                    </a:cubicBezTo>
                    <a:cubicBezTo>
                      <a:pt x="909" y="1461"/>
                      <a:pt x="1305" y="1475"/>
                      <a:pt x="1713" y="1177"/>
                    </a:cubicBezTo>
                    <a:cubicBezTo>
                      <a:pt x="1713" y="1177"/>
                      <a:pt x="1450" y="817"/>
                      <a:pt x="1390" y="735"/>
                    </a:cubicBezTo>
                    <a:cubicBezTo>
                      <a:pt x="1485" y="748"/>
                      <a:pt x="1538" y="689"/>
                      <a:pt x="1558" y="652"/>
                    </a:cubicBezTo>
                    <a:cubicBezTo>
                      <a:pt x="1583" y="610"/>
                      <a:pt x="1583" y="540"/>
                      <a:pt x="1546" y="490"/>
                    </a:cubicBezTo>
                    <a:cubicBezTo>
                      <a:pt x="1500" y="440"/>
                      <a:pt x="1466" y="424"/>
                      <a:pt x="1395" y="428"/>
                    </a:cubicBezTo>
                    <a:cubicBezTo>
                      <a:pt x="1343" y="439"/>
                      <a:pt x="1273" y="478"/>
                      <a:pt x="1269" y="567"/>
                    </a:cubicBezTo>
                    <a:cubicBezTo>
                      <a:pt x="1063" y="285"/>
                      <a:pt x="857" y="0"/>
                      <a:pt x="857" y="0"/>
                    </a:cubicBezTo>
                    <a:close/>
                  </a:path>
                </a:pathLst>
              </a:custGeom>
              <a:solidFill>
                <a:srgbClr val="DDDDDD"/>
              </a:solid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4146" name="Freeform 28" descr="FOTO 03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994" y="1861"/>
                <a:ext cx="479" cy="529"/>
              </a:xfrm>
              <a:custGeom>
                <a:avLst/>
                <a:gdLst>
                  <a:gd name="T0" fmla="*/ 0 w 1541"/>
                  <a:gd name="T1" fmla="*/ 163 h 1703"/>
                  <a:gd name="T2" fmla="*/ 128 w 1541"/>
                  <a:gd name="T3" fmla="*/ 339 h 1703"/>
                  <a:gd name="T4" fmla="*/ 165 w 1541"/>
                  <a:gd name="T5" fmla="*/ 296 h 1703"/>
                  <a:gd name="T6" fmla="*/ 215 w 1541"/>
                  <a:gd name="T7" fmla="*/ 316 h 1703"/>
                  <a:gd name="T8" fmla="*/ 216 w 1541"/>
                  <a:gd name="T9" fmla="*/ 371 h 1703"/>
                  <a:gd name="T10" fmla="*/ 166 w 1541"/>
                  <a:gd name="T11" fmla="*/ 391 h 1703"/>
                  <a:gd name="T12" fmla="*/ 266 w 1541"/>
                  <a:gd name="T13" fmla="*/ 529 h 1703"/>
                  <a:gd name="T14" fmla="*/ 437 w 1541"/>
                  <a:gd name="T15" fmla="*/ 288 h 1703"/>
                  <a:gd name="T16" fmla="*/ 430 w 1541"/>
                  <a:gd name="T17" fmla="*/ 23 h 1703"/>
                  <a:gd name="T18" fmla="*/ 269 w 1541"/>
                  <a:gd name="T19" fmla="*/ 76 h 1703"/>
                  <a:gd name="T20" fmla="*/ 260 w 1541"/>
                  <a:gd name="T21" fmla="*/ 18 h 1703"/>
                  <a:gd name="T22" fmla="*/ 211 w 1541"/>
                  <a:gd name="T23" fmla="*/ 6 h 1703"/>
                  <a:gd name="T24" fmla="*/ 178 w 1541"/>
                  <a:gd name="T25" fmla="*/ 45 h 1703"/>
                  <a:gd name="T26" fmla="*/ 207 w 1541"/>
                  <a:gd name="T27" fmla="*/ 95 h 1703"/>
                  <a:gd name="T28" fmla="*/ 0 w 1541"/>
                  <a:gd name="T29" fmla="*/ 163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34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4147" name="Freeform 29" descr="FOTO 02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909" y="1571"/>
                <a:ext cx="515" cy="453"/>
              </a:xfrm>
              <a:custGeom>
                <a:avLst/>
                <a:gdLst>
                  <a:gd name="T0" fmla="*/ 84 w 1656"/>
                  <a:gd name="T1" fmla="*/ 453 h 1456"/>
                  <a:gd name="T2" fmla="*/ 292 w 1656"/>
                  <a:gd name="T3" fmla="*/ 386 h 1456"/>
                  <a:gd name="T4" fmla="*/ 262 w 1656"/>
                  <a:gd name="T5" fmla="*/ 337 h 1456"/>
                  <a:gd name="T6" fmla="*/ 297 w 1656"/>
                  <a:gd name="T7" fmla="*/ 296 h 1456"/>
                  <a:gd name="T8" fmla="*/ 348 w 1656"/>
                  <a:gd name="T9" fmla="*/ 313 h 1456"/>
                  <a:gd name="T10" fmla="*/ 353 w 1656"/>
                  <a:gd name="T11" fmla="*/ 366 h 1456"/>
                  <a:gd name="T12" fmla="*/ 515 w 1656"/>
                  <a:gd name="T13" fmla="*/ 313 h 1456"/>
                  <a:gd name="T14" fmla="*/ 338 w 1656"/>
                  <a:gd name="T15" fmla="*/ 76 h 1456"/>
                  <a:gd name="T16" fmla="*/ 84 w 1656"/>
                  <a:gd name="T17" fmla="*/ 0 h 1456"/>
                  <a:gd name="T18" fmla="*/ 84 w 1656"/>
                  <a:gd name="T19" fmla="*/ 170 h 1456"/>
                  <a:gd name="T20" fmla="*/ 27 w 1656"/>
                  <a:gd name="T21" fmla="*/ 161 h 1456"/>
                  <a:gd name="T22" fmla="*/ 0 w 1656"/>
                  <a:gd name="T23" fmla="*/ 204 h 1456"/>
                  <a:gd name="T24" fmla="*/ 27 w 1656"/>
                  <a:gd name="T25" fmla="*/ 247 h 1456"/>
                  <a:gd name="T26" fmla="*/ 84 w 1656"/>
                  <a:gd name="T27" fmla="*/ 235 h 1456"/>
                  <a:gd name="T28" fmla="*/ 84 w 1656"/>
                  <a:gd name="T29" fmla="*/ 453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35">
                  <a:lum bright="40000" contrast="-40000"/>
                  <a:grayscl/>
                </a:blip>
                <a:srcRect/>
                <a:stretch>
                  <a:fillRect/>
                </a:stretch>
              </a:blipFill>
              <a:ln w="19050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pic>
            <p:nvPicPr>
              <p:cNvPr id="4148" name="Picture 30" descr="MC900434822[1]"/>
              <p:cNvPicPr>
                <a:picLocks noChangeArrowheads="1"/>
              </p:cNvPicPr>
              <p:nvPr>
                <p:custDataLst>
                  <p:tags r:id="rId23"/>
                </p:custDataLst>
              </p:nvPr>
            </p:nvPicPr>
            <p:blipFill>
              <a:blip r:embed="rId36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grayscl/>
              </a:blip>
              <a:srcRect/>
              <a:stretch>
                <a:fillRect/>
              </a:stretch>
            </p:blipFill>
            <p:spPr bwMode="auto">
              <a:xfrm>
                <a:off x="4845" y="2203"/>
                <a:ext cx="294" cy="238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</p:pic>
        </p:grpSp>
        <p:grpSp>
          <p:nvGrpSpPr>
            <p:cNvPr id="5" name="Group 31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4880" y="2070"/>
              <a:ext cx="126" cy="133"/>
              <a:chOff x="1220" y="961"/>
              <a:chExt cx="205" cy="217"/>
            </a:xfrm>
          </p:grpSpPr>
          <p:grpSp>
            <p:nvGrpSpPr>
              <p:cNvPr id="6" name="Group 32"/>
              <p:cNvGrpSpPr>
                <a:grpSpLocks/>
              </p:cNvGrpSpPr>
              <p:nvPr>
                <p:custDataLst>
                  <p:tags r:id="rId16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38" name="Oval 33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39" name="Oval 34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40" name="Oval 35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48" name="Oval 36"/>
                <p:cNvSpPr>
                  <a:spLocks noChangeArrowheads="1"/>
                </p:cNvSpPr>
                <p:nvPr/>
              </p:nvSpPr>
              <p:spPr bwMode="gray">
                <a:xfrm>
                  <a:off x="65" y="1349"/>
                  <a:ext cx="662" cy="587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37" name="Rectangle 37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 flipH="1">
                <a:off x="1279" y="961"/>
                <a:ext cx="91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1</a:t>
                </a:r>
              </a:p>
            </p:txBody>
          </p:sp>
        </p:grpSp>
        <p:grpSp>
          <p:nvGrpSpPr>
            <p:cNvPr id="7" name="Group 38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5872" y="2070"/>
              <a:ext cx="126" cy="133"/>
              <a:chOff x="1220" y="961"/>
              <a:chExt cx="205" cy="217"/>
            </a:xfrm>
          </p:grpSpPr>
          <p:grpSp>
            <p:nvGrpSpPr>
              <p:cNvPr id="8" name="Group 39"/>
              <p:cNvGrpSpPr>
                <a:grpSpLocks/>
              </p:cNvGrpSpPr>
              <p:nvPr>
                <p:custDataLst>
                  <p:tags r:id="rId14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32" name="Oval 40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33" name="Oval 41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34" name="Oval 42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55" name="Oval 43"/>
                <p:cNvSpPr>
                  <a:spLocks noChangeArrowheads="1"/>
                </p:cNvSpPr>
                <p:nvPr/>
              </p:nvSpPr>
              <p:spPr bwMode="gray">
                <a:xfrm>
                  <a:off x="67" y="1349"/>
                  <a:ext cx="662" cy="587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31" name="Rectangle 44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 flipH="1">
                <a:off x="1279" y="961"/>
                <a:ext cx="91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2</a:t>
                </a:r>
              </a:p>
            </p:txBody>
          </p:sp>
        </p:grpSp>
        <p:grpSp>
          <p:nvGrpSpPr>
            <p:cNvPr id="9" name="Group 4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4562" y="3000"/>
              <a:ext cx="125" cy="133"/>
              <a:chOff x="1220" y="961"/>
              <a:chExt cx="205" cy="217"/>
            </a:xfrm>
          </p:grpSpPr>
          <p:grpSp>
            <p:nvGrpSpPr>
              <p:cNvPr id="10" name="Group 46"/>
              <p:cNvGrpSpPr>
                <a:grpSpLocks/>
              </p:cNvGrpSpPr>
              <p:nvPr>
                <p:custDataLst>
                  <p:tags r:id="rId12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26" name="Oval 47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27" name="Oval 48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28" name="Oval 49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62" name="Oval 50"/>
                <p:cNvSpPr>
                  <a:spLocks noChangeArrowheads="1"/>
                </p:cNvSpPr>
                <p:nvPr/>
              </p:nvSpPr>
              <p:spPr bwMode="gray">
                <a:xfrm>
                  <a:off x="68" y="1358"/>
                  <a:ext cx="661" cy="569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25" name="Rectangle 5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 flipH="1">
                <a:off x="1277" y="961"/>
                <a:ext cx="9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5</a:t>
                </a:r>
              </a:p>
            </p:txBody>
          </p:sp>
        </p:grpSp>
        <p:grpSp>
          <p:nvGrpSpPr>
            <p:cNvPr id="11" name="Group 52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187" y="3000"/>
              <a:ext cx="126" cy="133"/>
              <a:chOff x="1220" y="961"/>
              <a:chExt cx="205" cy="217"/>
            </a:xfrm>
          </p:grpSpPr>
          <p:grpSp>
            <p:nvGrpSpPr>
              <p:cNvPr id="12" name="Group 53"/>
              <p:cNvGrpSpPr>
                <a:grpSpLocks/>
              </p:cNvGrpSpPr>
              <p:nvPr>
                <p:custDataLst>
                  <p:tags r:id="rId10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20" name="Oval 54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21" name="Oval 55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22" name="Oval 56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69" name="Oval 57"/>
                <p:cNvSpPr>
                  <a:spLocks noChangeArrowheads="1"/>
                </p:cNvSpPr>
                <p:nvPr/>
              </p:nvSpPr>
              <p:spPr bwMode="gray">
                <a:xfrm>
                  <a:off x="65" y="1358"/>
                  <a:ext cx="662" cy="569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19" name="Rectangle 58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 flipH="1">
                <a:off x="1279" y="961"/>
                <a:ext cx="91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3</a:t>
                </a:r>
              </a:p>
            </p:txBody>
          </p:sp>
        </p:grpSp>
        <p:grpSp>
          <p:nvGrpSpPr>
            <p:cNvPr id="13" name="Group 59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5376" y="3591"/>
              <a:ext cx="125" cy="133"/>
              <a:chOff x="1220" y="960"/>
              <a:chExt cx="205" cy="217"/>
            </a:xfrm>
          </p:grpSpPr>
          <p:grpSp>
            <p:nvGrpSpPr>
              <p:cNvPr id="14" name="Group 60"/>
              <p:cNvGrpSpPr>
                <a:grpSpLocks/>
              </p:cNvGrpSpPr>
              <p:nvPr>
                <p:custDataLst>
                  <p:tags r:id="rId8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114" name="Oval 6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15" name="Oval 6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116" name="Oval 6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>
                    <a:latin typeface="Calibri" pitchFamily="34" charset="0"/>
                  </a:endParaRPr>
                </a:p>
              </p:txBody>
            </p:sp>
            <p:sp>
              <p:nvSpPr>
                <p:cNvPr id="474176" name="Oval 64"/>
                <p:cNvSpPr>
                  <a:spLocks noChangeArrowheads="1"/>
                </p:cNvSpPr>
                <p:nvPr/>
              </p:nvSpPr>
              <p:spPr bwMode="gray">
                <a:xfrm>
                  <a:off x="67" y="1362"/>
                  <a:ext cx="661" cy="575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pt-BR" dirty="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4113" name="Rectangle 65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 flipH="1">
                <a:off x="1277" y="960"/>
                <a:ext cx="92" cy="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912813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  <a:latin typeface="Calibri" pitchFamily="34" charset="0"/>
                  </a:rPr>
                  <a:t>4</a:t>
                </a:r>
              </a:p>
            </p:txBody>
          </p:sp>
        </p:grpSp>
      </p:grpSp>
      <p:sp>
        <p:nvSpPr>
          <p:cNvPr id="69" name="CaixaDeTexto 75"/>
          <p:cNvSpPr txBox="1">
            <a:spLocks noChangeArrowheads="1"/>
          </p:cNvSpPr>
          <p:nvPr/>
        </p:nvSpPr>
        <p:spPr bwMode="auto">
          <a:xfrm>
            <a:off x="907923" y="850357"/>
            <a:ext cx="77422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3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Macroestratégias</a:t>
            </a:r>
          </a:p>
        </p:txBody>
      </p:sp>
      <p:sp>
        <p:nvSpPr>
          <p:cNvPr id="70" name="Rectangle 11"/>
          <p:cNvSpPr>
            <a:spLocks noChangeArrowheads="1"/>
          </p:cNvSpPr>
          <p:nvPr/>
        </p:nvSpPr>
        <p:spPr bwMode="auto">
          <a:xfrm>
            <a:off x="3379808" y="1655144"/>
            <a:ext cx="5270352" cy="4262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3400" b="1" dirty="0">
                <a:latin typeface="Tahoma" pitchFamily="34" charset="0"/>
                <a:cs typeface="Tahoma" pitchFamily="34" charset="0"/>
              </a:rPr>
              <a:t>12-</a:t>
            </a:r>
            <a:r>
              <a:rPr lang="pt-BR" sz="34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Conscientizar e mobilizar a sociedade, famílias e alunos, </a:t>
            </a:r>
            <a:r>
              <a:rPr lang="pt-BR" sz="3400" b="1" dirty="0" smtClean="0">
                <a:latin typeface="Tahoma" pitchFamily="34" charset="0"/>
                <a:cs typeface="Tahoma" pitchFamily="34" charset="0"/>
              </a:rPr>
              <a:t>de forma que todos </a:t>
            </a:r>
            <a:br>
              <a:rPr lang="pt-BR" sz="3400" b="1" dirty="0" smtClean="0">
                <a:latin typeface="Tahoma" pitchFamily="34" charset="0"/>
                <a:cs typeface="Tahoma" pitchFamily="34" charset="0"/>
              </a:rPr>
            </a:br>
            <a:r>
              <a:rPr lang="pt-BR" sz="3400" b="1" dirty="0" smtClean="0">
                <a:latin typeface="Tahoma" pitchFamily="34" charset="0"/>
                <a:cs typeface="Tahoma" pitchFamily="34" charset="0"/>
              </a:rPr>
              <a:t>estejam engajados</a:t>
            </a:r>
          </a:p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3400" b="1" dirty="0" smtClean="0">
                <a:latin typeface="Tahoma" pitchFamily="34" charset="0"/>
                <a:cs typeface="Tahoma" pitchFamily="34" charset="0"/>
              </a:rPr>
              <a:t>e comprometidos com </a:t>
            </a:r>
            <a:br>
              <a:rPr lang="pt-BR" sz="3400" b="1" dirty="0" smtClean="0">
                <a:latin typeface="Tahoma" pitchFamily="34" charset="0"/>
                <a:cs typeface="Tahoma" pitchFamily="34" charset="0"/>
              </a:rPr>
            </a:br>
            <a:r>
              <a:rPr lang="pt-BR" sz="3400" b="1" dirty="0" smtClean="0">
                <a:latin typeface="Tahoma" pitchFamily="34" charset="0"/>
                <a:cs typeface="Tahoma" pitchFamily="34" charset="0"/>
              </a:rPr>
              <a:t>o processo de ensino-aprendizagem.</a:t>
            </a:r>
            <a:endParaRPr lang="pt-BR" sz="3400" b="1" dirty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914400" y="1053309"/>
            <a:ext cx="7772400" cy="862053"/>
          </a:xfrm>
        </p:spPr>
        <p:txBody>
          <a:bodyPr/>
          <a:lstStyle/>
          <a:p>
            <a:pPr eaLnBrk="1" hangingPunct="1"/>
            <a:r>
              <a:rPr lang="en-US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contro Presencial I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2042688"/>
            <a:ext cx="7772400" cy="3327969"/>
          </a:xfrm>
        </p:spPr>
        <p:txBody>
          <a:bodyPr rtlCol="0">
            <a:noAutofit/>
          </a:bodyPr>
          <a:lstStyle/>
          <a:p>
            <a:pPr marL="0" indent="0"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Objetivos: </a:t>
            </a:r>
            <a:endParaRPr lang="pt-BR" sz="3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1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3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discutir as práticas </a:t>
            </a: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de </a:t>
            </a:r>
            <a:r>
              <a:rPr lang="pt-BR" sz="3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sucesso de escolas brasileiras para a adaptação na realidade </a:t>
            </a: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das </a:t>
            </a:r>
            <a:r>
              <a:rPr lang="pt-BR" sz="3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escolas em que </a:t>
            </a: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tuam;</a:t>
            </a:r>
            <a:endParaRPr lang="en-US" sz="3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Seta para a direita 9"/>
          <p:cNvSpPr/>
          <p:nvPr/>
        </p:nvSpPr>
        <p:spPr>
          <a:xfrm>
            <a:off x="7708900" y="5770094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1" name="Picture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11270" y="674376"/>
            <a:ext cx="1111541" cy="110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o 8"/>
          <p:cNvGrpSpPr/>
          <p:nvPr/>
        </p:nvGrpSpPr>
        <p:grpSpPr>
          <a:xfrm>
            <a:off x="6497901" y="4467828"/>
            <a:ext cx="2163424" cy="1947360"/>
            <a:chOff x="6430963" y="4672013"/>
            <a:chExt cx="2463800" cy="2217737"/>
          </a:xfrm>
        </p:grpSpPr>
        <p:pic>
          <p:nvPicPr>
            <p:cNvPr id="9220" name="Picture 9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232650" y="4672013"/>
              <a:ext cx="1454150" cy="145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22" name="Picture 11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430963" y="5751513"/>
              <a:ext cx="985837" cy="985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23" name="Picture 12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051675" y="5903913"/>
              <a:ext cx="985838" cy="985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224" name="Picture 13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908925" y="5818188"/>
              <a:ext cx="985838" cy="985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3849" y="1776463"/>
            <a:ext cx="6924737" cy="3189080"/>
          </a:xfrm>
        </p:spPr>
        <p:txBody>
          <a:bodyPr rtlCol="0">
            <a:noAutofit/>
          </a:bodyPr>
          <a:lstStyle/>
          <a:p>
            <a:pPr marL="285750" lvl="1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scolher duas práticas a serem aplicadas em escola escolhida pelo grupo no dia </a:t>
            </a:r>
            <a:b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do encontro presencial, preferencialmente escolas prioritárias.</a:t>
            </a:r>
          </a:p>
          <a:p>
            <a:pPr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US" sz="3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5725" y="1551009"/>
            <a:ext cx="7772400" cy="2488557"/>
          </a:xfrm>
        </p:spPr>
        <p:txBody>
          <a:bodyPr rtlCol="0">
            <a:no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urso de Gestão para Supervisores e Dirigentes da Rede Pública Estadual Paulista</a:t>
            </a:r>
            <a:endParaRPr lang="en-US" sz="4000" b="1" kern="1200" dirty="0">
              <a:solidFill>
                <a:srgbClr val="0070C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5725" y="4378588"/>
            <a:ext cx="7772400" cy="783722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en-US" sz="3600" b="1" kern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Encontro Presencial II - 2012</a:t>
            </a:r>
            <a:endParaRPr lang="en-US" sz="3600" b="1" kern="12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902824" y="1632061"/>
            <a:ext cx="7783975" cy="771163"/>
          </a:xfrm>
        </p:spPr>
        <p:txBody>
          <a:bodyPr/>
          <a:lstStyle/>
          <a:p>
            <a:pPr eaLnBrk="1" hangingPunct="1"/>
            <a:r>
              <a:rPr lang="en-US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peracionalização EPII</a:t>
            </a: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879674" y="2461100"/>
            <a:ext cx="7963384" cy="2874862"/>
          </a:xfrm>
        </p:spPr>
        <p:txBody>
          <a:bodyPr/>
          <a:lstStyle/>
          <a:p>
            <a:pPr marL="358775" lvl="1" indent="-358775" eaLnBrk="1" hangingPunct="1">
              <a:spcBef>
                <a:spcPts val="600"/>
              </a:spcBef>
              <a:buFont typeface="Arial" pitchFamily="34" charset="0"/>
              <a:buChar char="•"/>
            </a:pPr>
            <a:r>
              <a:rPr lang="en-US" sz="35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Discussão de práticas de sucesso (necessária leitura do material disponível na Semana de Preparação para o Encontro Presencial);</a:t>
            </a:r>
          </a:p>
        </p:txBody>
      </p:sp>
      <p:sp>
        <p:nvSpPr>
          <p:cNvPr id="4" name="Seta para a direita 3"/>
          <p:cNvSpPr/>
          <p:nvPr/>
        </p:nvSpPr>
        <p:spPr>
          <a:xfrm>
            <a:off x="7643813" y="5715000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914400" y="1169062"/>
            <a:ext cx="7766613" cy="4618298"/>
          </a:xfrm>
        </p:spPr>
        <p:txBody>
          <a:bodyPr/>
          <a:lstStyle/>
          <a:p>
            <a:pPr marL="358775" lvl="1" indent="-358775">
              <a:spcBef>
                <a:spcPts val="600"/>
              </a:spcBef>
              <a:buFont typeface="Arial" pitchFamily="34" charset="0"/>
              <a:buChar char="•"/>
            </a:pPr>
            <a:r>
              <a:rPr lang="pt-BR" sz="3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scolher uma escola do grupo (se houver uma escola prioritária que seja ela a escolhida; caso não haja uma escola prioritária no grupo, que a escolha recaia sobre a escola com os piores indicadores*);</a:t>
            </a:r>
            <a:endParaRPr lang="en-US" sz="32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58775" lvl="1" indent="-358775">
              <a:spcBef>
                <a:spcPts val="600"/>
              </a:spcBef>
              <a:buFont typeface="Arial" pitchFamily="34" charset="0"/>
              <a:buChar char="•"/>
            </a:pPr>
            <a:r>
              <a:rPr lang="pt-BR" sz="3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Discutir os indicadores dessa escola e os principais problemas dessa escola;</a:t>
            </a:r>
            <a:endParaRPr lang="en-US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Seta para a direita 4"/>
          <p:cNvSpPr/>
          <p:nvPr/>
        </p:nvSpPr>
        <p:spPr>
          <a:xfrm>
            <a:off x="7643813" y="5715000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849775" y="1540587"/>
            <a:ext cx="7766613" cy="3588152"/>
          </a:xfrm>
        </p:spPr>
        <p:txBody>
          <a:bodyPr/>
          <a:lstStyle/>
          <a:p>
            <a:pPr marL="358775" lvl="1" indent="-358775">
              <a:spcBef>
                <a:spcPts val="600"/>
              </a:spcBef>
              <a:buFont typeface="Arial" pitchFamily="34" charset="0"/>
              <a:buChar char="•"/>
            </a:pPr>
            <a:r>
              <a:rPr lang="pt-BR" sz="35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om base no material lido sobre melhores práticas e com base nas experiências de vocês, escolher duas práticas a serem implementadas nessa escola como forma de melhorar os indicadores de desempenho.</a:t>
            </a:r>
          </a:p>
        </p:txBody>
      </p:sp>
      <p:sp>
        <p:nvSpPr>
          <p:cNvPr id="3" name="Seta para a direita 2"/>
          <p:cNvSpPr/>
          <p:nvPr/>
        </p:nvSpPr>
        <p:spPr>
          <a:xfrm>
            <a:off x="7643813" y="5715000"/>
            <a:ext cx="977900" cy="484188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889000" y="1229187"/>
            <a:ext cx="7766613" cy="4479402"/>
          </a:xfrm>
        </p:spPr>
        <p:txBody>
          <a:bodyPr/>
          <a:lstStyle/>
          <a:p>
            <a:pPr marL="358775" indent="-358775">
              <a:spcBef>
                <a:spcPts val="600"/>
              </a:spcBef>
              <a:buNone/>
            </a:pPr>
            <a: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* O levantamento dos indicadores das escolas em que atuam já terá sido realizado no trabalho colaborativo da semana anterior à semana de preparação do Encontro Presencial. Se essa tarefa ainda não tiver sido realizada, favor terminá-la antes do Encontro Presencial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937548" y="717635"/>
            <a:ext cx="7749251" cy="896777"/>
          </a:xfrm>
        </p:spPr>
        <p:txBody>
          <a:bodyPr/>
          <a:lstStyle/>
          <a:p>
            <a:pPr eaLnBrk="1" hangingPunct="1"/>
            <a:r>
              <a:rPr lang="en-US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contro Presencial I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7548" y="1750675"/>
            <a:ext cx="7977852" cy="4525963"/>
          </a:xfrm>
        </p:spPr>
        <p:txBody>
          <a:bodyPr rtlCol="0">
            <a:normAutofit/>
          </a:bodyPr>
          <a:lstStyle/>
          <a:p>
            <a:pPr marL="0" indent="0"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sz="3600" b="1" kern="12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Produto Final </a:t>
            </a:r>
          </a:p>
          <a:p>
            <a:pPr marL="254000" indent="-254000"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O </a:t>
            </a:r>
            <a:r>
              <a:rPr lang="pt-BR" sz="3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encontro deverá ser registrado </a:t>
            </a:r>
            <a: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 </a:t>
            </a:r>
            <a:r>
              <a:rPr lang="pt-BR" sz="3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será entregue um relatório</a:t>
            </a:r>
            <a: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, </a:t>
            </a:r>
            <a:b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de acordo com o modelo disponibilizado </a:t>
            </a:r>
            <a:r>
              <a:rPr lang="pt-BR" sz="3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no </a:t>
            </a:r>
            <a:r>
              <a:rPr lang="pt-BR" sz="3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VA.</a:t>
            </a:r>
            <a:endParaRPr lang="en-US" sz="3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1268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57775" y="4789488"/>
            <a:ext cx="1179513" cy="117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9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24225" y="4738688"/>
            <a:ext cx="1298575" cy="1298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70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52950" y="5029200"/>
            <a:ext cx="59055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3"/>
          <p:cNvSpPr>
            <a:spLocks noGrp="1"/>
          </p:cNvSpPr>
          <p:nvPr>
            <p:ph idx="1"/>
          </p:nvPr>
        </p:nvSpPr>
        <p:spPr>
          <a:xfrm>
            <a:off x="879676" y="759910"/>
            <a:ext cx="7807124" cy="5787342"/>
          </a:xfrm>
        </p:spPr>
        <p:txBody>
          <a:bodyPr rtlCol="0">
            <a:normAutofit/>
          </a:bodyPr>
          <a:lstStyle/>
          <a:p>
            <a:pPr marL="0" indent="0" algn="ctr"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Obrigado!</a:t>
            </a:r>
          </a:p>
          <a:p>
            <a:pPr marL="0" indent="0" algn="ctr"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stamos à Disposição</a:t>
            </a:r>
          </a:p>
          <a:p>
            <a:pPr marL="0" indent="0" algn="ctr"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pt-BR" sz="3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indent="0" algn="ctr"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Lara Bartocci Liboni</a:t>
            </a:r>
          </a:p>
          <a:p>
            <a:pPr marL="0" indent="0" algn="ctr"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  <a:hlinkClick r:id="rId2"/>
              </a:rPr>
              <a:t>laraliboni@usp.br</a:t>
            </a:r>
            <a:endParaRPr lang="pt-BR" sz="3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indent="0" algn="ctr"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0" indent="0" algn="ctr"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André Lucirton Costa</a:t>
            </a:r>
          </a:p>
          <a:p>
            <a:pPr marL="0" indent="0" algn="ctr"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r>
              <a:rPr lang="pt-BR" sz="3600" b="1" dirty="0" smtClean="0">
                <a:latin typeface="Tahoma" pitchFamily="34" charset="0"/>
                <a:ea typeface="Tahoma" pitchFamily="34" charset="0"/>
                <a:cs typeface="Tahoma" pitchFamily="34" charset="0"/>
                <a:hlinkClick r:id="rId3"/>
              </a:rPr>
              <a:t>alcosta@fearp.usp.br</a:t>
            </a:r>
            <a:endParaRPr lang="pt-BR" sz="3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eaLnBrk="1" fontAlgn="auto" hangingPunct="1">
              <a:spcBef>
                <a:spcPts val="60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pt-BR" sz="3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/>
            </a:pPr>
            <a:endParaRPr lang="pt-BR" sz="36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879676" y="868110"/>
            <a:ext cx="7807124" cy="919927"/>
          </a:xfrm>
        </p:spPr>
        <p:txBody>
          <a:bodyPr/>
          <a:lstStyle/>
          <a:p>
            <a:pPr eaLnBrk="1" hangingPunct="1"/>
            <a:r>
              <a:rPr lang="en-US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contros Presencia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4268" y="1981147"/>
            <a:ext cx="4653024" cy="3461765"/>
          </a:xfrm>
        </p:spPr>
        <p:txBody>
          <a:bodyPr rtlCol="0">
            <a:noAutofit/>
          </a:bodyPr>
          <a:lstStyle/>
          <a:p>
            <a:pPr marL="0" indent="0"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None/>
              <a:defRPr/>
            </a:pPr>
            <a: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omo já explicado anteriormente, os Encontros Presenciais estão alinhados ao Programa Educação Compromisso de </a:t>
            </a:r>
            <a:b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São Paulo.</a:t>
            </a:r>
            <a:endParaRPr lang="en-US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7172" name="Imagem 5" descr="logo_educacao.jp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474824" y="1818672"/>
            <a:ext cx="3142525" cy="3887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2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865187" y="2333338"/>
            <a:ext cx="7887607" cy="1892922"/>
          </a:xfrm>
        </p:spPr>
        <p:txBody>
          <a:bodyPr/>
          <a:lstStyle/>
          <a:p>
            <a:pPr eaLnBrk="1" hangingPunct="1">
              <a:spcBef>
                <a:spcPts val="600"/>
              </a:spcBef>
            </a:pPr>
            <a: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embrando que o Programa está baseado em cinco pilares:</a:t>
            </a:r>
          </a:p>
        </p:txBody>
      </p:sp>
      <p:graphicFrame>
        <p:nvGraphicFramePr>
          <p:cNvPr id="1026" name="AutoShape 5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032" name="think-cell Slide" r:id="rId6" imgW="0" imgH="0" progId="">
              <p:embed/>
            </p:oleObj>
          </a:graphicData>
        </a:graphic>
      </p:graphicFrame>
      <p:sp>
        <p:nvSpPr>
          <p:cNvPr id="1028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dirty="0">
                <a:latin typeface="Calibri" pitchFamily="34" charset="0"/>
              </a:rPr>
              <a:t>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1031189" y="637226"/>
            <a:ext cx="2641926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Valorizar </a:t>
            </a:r>
            <a:r>
              <a:rPr lang="pt-BR" sz="2000" b="1" dirty="0" smtClean="0">
                <a:latin typeface="Tahoma" pitchFamily="34" charset="0"/>
                <a:cs typeface="Tahoma" pitchFamily="34" charset="0"/>
              </a:rPr>
              <a:t>e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investir </a:t>
            </a:r>
            <a:r>
              <a:rPr lang="pt-BR" sz="2000" b="1" dirty="0" smtClean="0">
                <a:latin typeface="Tahoma" pitchFamily="34" charset="0"/>
                <a:cs typeface="Tahoma" pitchFamily="34" charset="0"/>
              </a:rPr>
              <a:t>no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desenvolvimento </a:t>
            </a:r>
            <a:br>
              <a:rPr lang="pt-BR" sz="2000" b="1" dirty="0">
                <a:latin typeface="Tahoma" pitchFamily="34" charset="0"/>
                <a:cs typeface="Tahoma" pitchFamily="34" charset="0"/>
              </a:rPr>
            </a:br>
            <a:r>
              <a:rPr lang="pt-BR" sz="2000" b="1" dirty="0">
                <a:latin typeface="Tahoma" pitchFamily="34" charset="0"/>
                <a:cs typeface="Tahoma" pitchFamily="34" charset="0"/>
              </a:rPr>
              <a:t>do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Capital Humano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da </a:t>
            </a:r>
            <a:r>
              <a:rPr lang="pt-BR" sz="2000" b="1" dirty="0" smtClean="0">
                <a:latin typeface="Tahoma" pitchFamily="34" charset="0"/>
                <a:cs typeface="Tahoma" pitchFamily="34" charset="0"/>
              </a:rPr>
              <a:t>Secretaria</a:t>
            </a:r>
            <a:endParaRPr lang="pt-BR" sz="2000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ectangle 6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5966163" y="698709"/>
            <a:ext cx="2583644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latin typeface="Tahoma" pitchFamily="34" charset="0"/>
                <a:cs typeface="Tahoma" pitchFamily="34" charset="0"/>
              </a:rPr>
              <a:t>Aprimorar as ações e a </a:t>
            </a:r>
            <a:r>
              <a:rPr lang="pt-BR" sz="20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gestão pedagógica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da Rede com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foco </a:t>
            </a:r>
            <a:r>
              <a:rPr lang="pt-BR" sz="20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no resultado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dos alunos</a:t>
            </a:r>
          </a:p>
        </p:txBody>
      </p:sp>
      <p:sp>
        <p:nvSpPr>
          <p:cNvPr id="6" name="Rectangle 6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938148" y="3512333"/>
            <a:ext cx="2397785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Mobilizar, Engajar e Responsabilizar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a Rede, os Alunos e a Sociedade em torno </a:t>
            </a:r>
            <a:r>
              <a:rPr lang="pt-BR" sz="2000" b="1" dirty="0" smtClean="0">
                <a:latin typeface="Tahoma" pitchFamily="34" charset="0"/>
                <a:cs typeface="Tahoma" pitchFamily="34" charset="0"/>
              </a:rPr>
              <a:t>do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processo </a:t>
            </a:r>
            <a:br>
              <a:rPr lang="pt-BR" sz="2000" b="1" dirty="0">
                <a:latin typeface="Tahoma" pitchFamily="34" charset="0"/>
                <a:cs typeface="Tahoma" pitchFamily="34" charset="0"/>
              </a:rPr>
            </a:br>
            <a:r>
              <a:rPr lang="pt-BR" sz="2000" b="1" dirty="0">
                <a:latin typeface="Tahoma" pitchFamily="34" charset="0"/>
                <a:cs typeface="Tahoma" pitchFamily="34" charset="0"/>
              </a:rPr>
              <a:t>de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ensino-aprendizagem </a:t>
            </a:r>
          </a:p>
        </p:txBody>
      </p:sp>
      <p:sp>
        <p:nvSpPr>
          <p:cNvPr id="7" name="Rectangle 6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5952821" y="3798610"/>
            <a:ext cx="2597150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latin typeface="Tahoma" pitchFamily="34" charset="0"/>
                <a:cs typeface="Tahoma" pitchFamily="34" charset="0"/>
              </a:rPr>
              <a:t>Lançar as bases de um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novo modelo de escola e um regime na carreira do Magistério mais atrativo </a:t>
            </a:r>
          </a:p>
        </p:txBody>
      </p:sp>
      <p:sp>
        <p:nvSpPr>
          <p:cNvPr id="8" name="Rectangle 6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3079578" y="5101289"/>
            <a:ext cx="353182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/>
          <a:p>
            <a:pPr algn="ctr"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latin typeface="Tahoma" pitchFamily="34" charset="0"/>
                <a:cs typeface="Tahoma" pitchFamily="34" charset="0"/>
              </a:rPr>
              <a:t>Viabilizar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mecanismos organizacionais e financeiros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para operacionalizar o Programa</a:t>
            </a:r>
          </a:p>
        </p:txBody>
      </p:sp>
      <p:grpSp>
        <p:nvGrpSpPr>
          <p:cNvPr id="9" name="Group 69"/>
          <p:cNvGrpSpPr>
            <a:grpSpLocks/>
          </p:cNvGrpSpPr>
          <p:nvPr/>
        </p:nvGrpSpPr>
        <p:grpSpPr bwMode="auto">
          <a:xfrm>
            <a:off x="3008329" y="1227083"/>
            <a:ext cx="3210958" cy="3202825"/>
            <a:chOff x="1306" y="582"/>
            <a:chExt cx="2956" cy="2950"/>
          </a:xfrm>
        </p:grpSpPr>
        <p:grpSp>
          <p:nvGrpSpPr>
            <p:cNvPr id="10" name="Group 70"/>
            <p:cNvGrpSpPr>
              <a:grpSpLocks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1306" y="582"/>
              <a:ext cx="2956" cy="2950"/>
              <a:chOff x="1442" y="718"/>
              <a:chExt cx="2956" cy="2950"/>
            </a:xfrm>
          </p:grpSpPr>
          <p:sp>
            <p:nvSpPr>
              <p:cNvPr id="52" name="Freeform 71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921" y="718"/>
                <a:ext cx="1398" cy="1481"/>
              </a:xfrm>
              <a:custGeom>
                <a:avLst/>
                <a:gdLst>
                  <a:gd name="T0" fmla="*/ 1272939335 w 142"/>
                  <a:gd name="T1" fmla="*/ 942095390 h 150"/>
                  <a:gd name="T2" fmla="*/ 0 w 142"/>
                  <a:gd name="T3" fmla="*/ 9284052 h 150"/>
                  <a:gd name="T4" fmla="*/ 0 w 142"/>
                  <a:gd name="T5" fmla="*/ 9284052 h 150"/>
                  <a:gd name="T6" fmla="*/ 0 w 142"/>
                  <a:gd name="T7" fmla="*/ 1371910009 h 150"/>
                  <a:gd name="T8" fmla="*/ 1272939335 w 142"/>
                  <a:gd name="T9" fmla="*/ 942095390 h 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2"/>
                  <a:gd name="T16" fmla="*/ 0 h 150"/>
                  <a:gd name="T17" fmla="*/ 142 w 142"/>
                  <a:gd name="T18" fmla="*/ 150 h 15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2" h="150">
                    <a:moveTo>
                      <a:pt x="142" y="103"/>
                    </a:moveTo>
                    <a:cubicBezTo>
                      <a:pt x="122" y="42"/>
                      <a:pt x="65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lnTo>
                      <a:pt x="0" y="150"/>
                    </a:lnTo>
                    <a:lnTo>
                      <a:pt x="142" y="103"/>
                    </a:lnTo>
                    <a:close/>
                  </a:path>
                </a:pathLst>
              </a:custGeom>
              <a:solidFill>
                <a:srgbClr val="FF9900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995C00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53" name="Freeform 72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921" y="1735"/>
                <a:ext cx="1477" cy="1657"/>
              </a:xfrm>
              <a:custGeom>
                <a:avLst/>
                <a:gdLst>
                  <a:gd name="T0" fmla="*/ 790226345 w 150"/>
                  <a:gd name="T1" fmla="*/ 1525453845 h 168"/>
                  <a:gd name="T2" fmla="*/ 1346262817 w 150"/>
                  <a:gd name="T3" fmla="*/ 427126629 h 168"/>
                  <a:gd name="T4" fmla="*/ 1274244799 w 150"/>
                  <a:gd name="T5" fmla="*/ 0 h 168"/>
                  <a:gd name="T6" fmla="*/ 0 w 150"/>
                  <a:gd name="T7" fmla="*/ 427126629 h 168"/>
                  <a:gd name="T8" fmla="*/ 790226345 w 150"/>
                  <a:gd name="T9" fmla="*/ 1525453845 h 1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0"/>
                  <a:gd name="T16" fmla="*/ 0 h 168"/>
                  <a:gd name="T17" fmla="*/ 150 w 150"/>
                  <a:gd name="T18" fmla="*/ 168 h 1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0" h="168">
                    <a:moveTo>
                      <a:pt x="88" y="168"/>
                    </a:moveTo>
                    <a:cubicBezTo>
                      <a:pt x="127" y="140"/>
                      <a:pt x="150" y="95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88" y="168"/>
                    </a:lnTo>
                    <a:close/>
                  </a:path>
                </a:pathLst>
              </a:custGeom>
              <a:solidFill>
                <a:srgbClr val="FFCC66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997A3D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54" name="Freeform 73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054" y="2199"/>
                <a:ext cx="1732" cy="1469"/>
              </a:xfrm>
              <a:custGeom>
                <a:avLst/>
                <a:gdLst>
                  <a:gd name="T0" fmla="*/ 0 w 176"/>
                  <a:gd name="T1" fmla="*/ 1086392609 h 149"/>
                  <a:gd name="T2" fmla="*/ 786531473 w 176"/>
                  <a:gd name="T3" fmla="*/ 1349075414 h 149"/>
                  <a:gd name="T4" fmla="*/ 1573062947 w 176"/>
                  <a:gd name="T5" fmla="*/ 1095613745 h 149"/>
                  <a:gd name="T6" fmla="*/ 786531473 w 176"/>
                  <a:gd name="T7" fmla="*/ 0 h 149"/>
                  <a:gd name="T8" fmla="*/ 0 w 176"/>
                  <a:gd name="T9" fmla="*/ 1086392609 h 1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149"/>
                  <a:gd name="T17" fmla="*/ 176 w 176"/>
                  <a:gd name="T18" fmla="*/ 149 h 1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149">
                    <a:moveTo>
                      <a:pt x="0" y="120"/>
                    </a:moveTo>
                    <a:cubicBezTo>
                      <a:pt x="25" y="139"/>
                      <a:pt x="56" y="149"/>
                      <a:pt x="88" y="149"/>
                    </a:cubicBezTo>
                    <a:cubicBezTo>
                      <a:pt x="120" y="149"/>
                      <a:pt x="150" y="140"/>
                      <a:pt x="176" y="121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7ED65"/>
              </a:solidFill>
              <a:ln w="19050">
                <a:noFill/>
                <a:round/>
                <a:headEnd/>
                <a:tailEnd/>
              </a:ln>
              <a:effectLst>
                <a:prstShdw prst="shdw17" dist="17961" dir="2700000">
                  <a:srgbClr val="948E3D"/>
                </a:prstShdw>
              </a:effectLst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55" name="Freeform 74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1442" y="1744"/>
                <a:ext cx="1479" cy="1638"/>
              </a:xfrm>
              <a:custGeom>
                <a:avLst/>
                <a:gdLst>
                  <a:gd name="T0" fmla="*/ 72598421 w 150"/>
                  <a:gd name="T1" fmla="*/ 0 h 166"/>
                  <a:gd name="T2" fmla="*/ 9224482 w 150"/>
                  <a:gd name="T3" fmla="*/ 419086764 h 166"/>
                  <a:gd name="T4" fmla="*/ 561398986 w 150"/>
                  <a:gd name="T5" fmla="*/ 1511997064 h 166"/>
                  <a:gd name="T6" fmla="*/ 1359033064 w 150"/>
                  <a:gd name="T7" fmla="*/ 419086764 h 166"/>
                  <a:gd name="T8" fmla="*/ 72598421 w 150"/>
                  <a:gd name="T9" fmla="*/ 0 h 1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0"/>
                  <a:gd name="T16" fmla="*/ 0 h 166"/>
                  <a:gd name="T17" fmla="*/ 150 w 150"/>
                  <a:gd name="T18" fmla="*/ 166 h 1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0" h="166">
                    <a:moveTo>
                      <a:pt x="8" y="0"/>
                    </a:moveTo>
                    <a:cubicBezTo>
                      <a:pt x="3" y="15"/>
                      <a:pt x="1" y="30"/>
                      <a:pt x="1" y="46"/>
                    </a:cubicBezTo>
                    <a:cubicBezTo>
                      <a:pt x="0" y="94"/>
                      <a:pt x="23" y="138"/>
                      <a:pt x="62" y="166"/>
                    </a:cubicBezTo>
                    <a:lnTo>
                      <a:pt x="150" y="4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33CCCC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1F7A7A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56" name="Freeform 75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1521" y="727"/>
                <a:ext cx="1400" cy="1472"/>
              </a:xfrm>
              <a:custGeom>
                <a:avLst/>
                <a:gdLst>
                  <a:gd name="T0" fmla="*/ 1285795098 w 142"/>
                  <a:gd name="T1" fmla="*/ 0 h 149"/>
                  <a:gd name="T2" fmla="*/ 0 w 142"/>
                  <a:gd name="T3" fmla="*/ 946401483 h 149"/>
                  <a:gd name="T4" fmla="*/ 1285795098 w 142"/>
                  <a:gd name="T5" fmla="*/ 1368455363 h 149"/>
                  <a:gd name="T6" fmla="*/ 1285795098 w 142"/>
                  <a:gd name="T7" fmla="*/ 0 h 14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2"/>
                  <a:gd name="T13" fmla="*/ 0 h 149"/>
                  <a:gd name="T14" fmla="*/ 142 w 142"/>
                  <a:gd name="T15" fmla="*/ 149 h 14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2" h="149">
                    <a:moveTo>
                      <a:pt x="142" y="0"/>
                    </a:moveTo>
                    <a:cubicBezTo>
                      <a:pt x="77" y="0"/>
                      <a:pt x="20" y="41"/>
                      <a:pt x="0" y="103"/>
                    </a:cubicBezTo>
                    <a:lnTo>
                      <a:pt x="142" y="149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D4270A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7F1706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</p:grpSp>
        <p:sp>
          <p:nvSpPr>
            <p:cNvPr id="11" name="Freeform 76" descr="FOTO 01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542" y="758"/>
              <a:ext cx="1245" cy="1333"/>
            </a:xfrm>
            <a:custGeom>
              <a:avLst/>
              <a:gdLst>
                <a:gd name="T0" fmla="*/ 657 w 1385"/>
                <a:gd name="T1" fmla="*/ 687 h 1485"/>
                <a:gd name="T2" fmla="*/ 657 w 1385"/>
                <a:gd name="T3" fmla="*/ 357 h 1485"/>
                <a:gd name="T4" fmla="*/ 569 w 1385"/>
                <a:gd name="T5" fmla="*/ 373 h 1485"/>
                <a:gd name="T6" fmla="*/ 529 w 1385"/>
                <a:gd name="T7" fmla="*/ 307 h 1485"/>
                <a:gd name="T8" fmla="*/ 575 w 1385"/>
                <a:gd name="T9" fmla="*/ 240 h 1485"/>
                <a:gd name="T10" fmla="*/ 657 w 1385"/>
                <a:gd name="T11" fmla="*/ 259 h 1485"/>
                <a:gd name="T12" fmla="*/ 657 w 1385"/>
                <a:gd name="T13" fmla="*/ 4 h 1485"/>
                <a:gd name="T14" fmla="*/ 229 w 1385"/>
                <a:gd name="T15" fmla="*/ 145 h 1485"/>
                <a:gd name="T16" fmla="*/ 0 w 1385"/>
                <a:gd name="T17" fmla="*/ 476 h 1485"/>
                <a:gd name="T18" fmla="*/ 247 w 1385"/>
                <a:gd name="T19" fmla="*/ 555 h 1485"/>
                <a:gd name="T20" fmla="*/ 206 w 1385"/>
                <a:gd name="T21" fmla="*/ 633 h 1485"/>
                <a:gd name="T22" fmla="*/ 255 w 1385"/>
                <a:gd name="T23" fmla="*/ 690 h 1485"/>
                <a:gd name="T24" fmla="*/ 332 w 1385"/>
                <a:gd name="T25" fmla="*/ 672 h 1485"/>
                <a:gd name="T26" fmla="*/ 340 w 1385"/>
                <a:gd name="T27" fmla="*/ 585 h 1485"/>
                <a:gd name="T28" fmla="*/ 657 w 1385"/>
                <a:gd name="T29" fmla="*/ 687 h 148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85"/>
                <a:gd name="T46" fmla="*/ 0 h 1485"/>
                <a:gd name="T47" fmla="*/ 1385 w 1385"/>
                <a:gd name="T48" fmla="*/ 1485 h 148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85" h="1485">
                  <a:moveTo>
                    <a:pt x="1385" y="1462"/>
                  </a:moveTo>
                  <a:cubicBezTo>
                    <a:pt x="1385" y="1462"/>
                    <a:pt x="1385" y="1111"/>
                    <a:pt x="1385" y="760"/>
                  </a:cubicBezTo>
                  <a:cubicBezTo>
                    <a:pt x="1294" y="844"/>
                    <a:pt x="1199" y="793"/>
                    <a:pt x="1199" y="793"/>
                  </a:cubicBezTo>
                  <a:cubicBezTo>
                    <a:pt x="1199" y="793"/>
                    <a:pt x="1114" y="750"/>
                    <a:pt x="1114" y="655"/>
                  </a:cubicBezTo>
                  <a:cubicBezTo>
                    <a:pt x="1123" y="540"/>
                    <a:pt x="1213" y="510"/>
                    <a:pt x="1213" y="510"/>
                  </a:cubicBezTo>
                  <a:cubicBezTo>
                    <a:pt x="1213" y="510"/>
                    <a:pt x="1306" y="472"/>
                    <a:pt x="1385" y="553"/>
                  </a:cubicBezTo>
                  <a:cubicBezTo>
                    <a:pt x="1385" y="462"/>
                    <a:pt x="1385" y="278"/>
                    <a:pt x="1385" y="4"/>
                  </a:cubicBezTo>
                  <a:cubicBezTo>
                    <a:pt x="850" y="0"/>
                    <a:pt x="484" y="311"/>
                    <a:pt x="484" y="311"/>
                  </a:cubicBezTo>
                  <a:cubicBezTo>
                    <a:pt x="484" y="311"/>
                    <a:pt x="155" y="532"/>
                    <a:pt x="0" y="1013"/>
                  </a:cubicBezTo>
                  <a:cubicBezTo>
                    <a:pt x="0" y="1013"/>
                    <a:pt x="424" y="1150"/>
                    <a:pt x="521" y="1181"/>
                  </a:cubicBezTo>
                  <a:cubicBezTo>
                    <a:pt x="436" y="1227"/>
                    <a:pt x="428" y="1305"/>
                    <a:pt x="434" y="1347"/>
                  </a:cubicBezTo>
                  <a:cubicBezTo>
                    <a:pt x="439" y="1395"/>
                    <a:pt x="479" y="1452"/>
                    <a:pt x="539" y="1471"/>
                  </a:cubicBezTo>
                  <a:cubicBezTo>
                    <a:pt x="605" y="1485"/>
                    <a:pt x="643" y="1477"/>
                    <a:pt x="698" y="1432"/>
                  </a:cubicBezTo>
                  <a:cubicBezTo>
                    <a:pt x="733" y="1393"/>
                    <a:pt x="766" y="1320"/>
                    <a:pt x="718" y="1245"/>
                  </a:cubicBezTo>
                  <a:cubicBezTo>
                    <a:pt x="1051" y="1353"/>
                    <a:pt x="1385" y="1462"/>
                    <a:pt x="1385" y="1462"/>
                  </a:cubicBezTo>
                  <a:close/>
                </a:path>
              </a:pathLst>
            </a:custGeom>
            <a:blipFill dpi="0" rotWithShape="1">
              <a:blip r:embed="rId54"/>
              <a:srcRect/>
              <a:stretch>
                <a:fillRect/>
              </a:stretch>
            </a:blip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pt-BR" dirty="0"/>
            </a:p>
          </p:txBody>
        </p:sp>
        <p:sp>
          <p:nvSpPr>
            <p:cNvPr id="12" name="Freeform 77" descr="FOTO 05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1389" y="1664"/>
              <a:ext cx="1399" cy="1463"/>
            </a:xfrm>
            <a:custGeom>
              <a:avLst/>
              <a:gdLst>
                <a:gd name="T0" fmla="*/ 739 w 1556"/>
                <a:gd name="T1" fmla="*/ 213 h 1629"/>
                <a:gd name="T2" fmla="*/ 422 w 1556"/>
                <a:gd name="T3" fmla="*/ 110 h 1629"/>
                <a:gd name="T4" fmla="*/ 415 w 1556"/>
                <a:gd name="T5" fmla="*/ 195 h 1629"/>
                <a:gd name="T6" fmla="*/ 334 w 1556"/>
                <a:gd name="T7" fmla="*/ 216 h 1629"/>
                <a:gd name="T8" fmla="*/ 285 w 1556"/>
                <a:gd name="T9" fmla="*/ 149 h 1629"/>
                <a:gd name="T10" fmla="*/ 328 w 1556"/>
                <a:gd name="T11" fmla="*/ 80 h 1629"/>
                <a:gd name="T12" fmla="*/ 81 w 1556"/>
                <a:gd name="T13" fmla="*/ 0 h 1629"/>
                <a:gd name="T14" fmla="*/ 87 w 1556"/>
                <a:gd name="T15" fmla="*/ 449 h 1629"/>
                <a:gd name="T16" fmla="*/ 333 w 1556"/>
                <a:gd name="T17" fmla="*/ 768 h 1629"/>
                <a:gd name="T18" fmla="*/ 486 w 1556"/>
                <a:gd name="T19" fmla="*/ 558 h 1629"/>
                <a:gd name="T20" fmla="*/ 548 w 1556"/>
                <a:gd name="T21" fmla="*/ 621 h 1629"/>
                <a:gd name="T22" fmla="*/ 619 w 1556"/>
                <a:gd name="T23" fmla="*/ 594 h 1629"/>
                <a:gd name="T24" fmla="*/ 625 w 1556"/>
                <a:gd name="T25" fmla="*/ 516 h 1629"/>
                <a:gd name="T26" fmla="*/ 544 w 1556"/>
                <a:gd name="T27" fmla="*/ 480 h 1629"/>
                <a:gd name="T28" fmla="*/ 739 w 1556"/>
                <a:gd name="T29" fmla="*/ 213 h 16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56"/>
                <a:gd name="T46" fmla="*/ 0 h 1629"/>
                <a:gd name="T47" fmla="*/ 1556 w 1556"/>
                <a:gd name="T48" fmla="*/ 1629 h 16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56" h="1629">
                  <a:moveTo>
                    <a:pt x="1556" y="451"/>
                  </a:moveTo>
                  <a:cubicBezTo>
                    <a:pt x="1556" y="451"/>
                    <a:pt x="1047" y="286"/>
                    <a:pt x="889" y="234"/>
                  </a:cubicBezTo>
                  <a:cubicBezTo>
                    <a:pt x="933" y="311"/>
                    <a:pt x="904" y="378"/>
                    <a:pt x="874" y="415"/>
                  </a:cubicBezTo>
                  <a:cubicBezTo>
                    <a:pt x="844" y="452"/>
                    <a:pt x="772" y="484"/>
                    <a:pt x="705" y="459"/>
                  </a:cubicBezTo>
                  <a:cubicBezTo>
                    <a:pt x="618" y="419"/>
                    <a:pt x="603" y="364"/>
                    <a:pt x="601" y="316"/>
                  </a:cubicBezTo>
                  <a:cubicBezTo>
                    <a:pt x="599" y="268"/>
                    <a:pt x="627" y="208"/>
                    <a:pt x="692" y="170"/>
                  </a:cubicBezTo>
                  <a:cubicBezTo>
                    <a:pt x="605" y="142"/>
                    <a:pt x="430" y="85"/>
                    <a:pt x="170" y="0"/>
                  </a:cubicBezTo>
                  <a:cubicBezTo>
                    <a:pt x="0" y="508"/>
                    <a:pt x="183" y="952"/>
                    <a:pt x="183" y="952"/>
                  </a:cubicBezTo>
                  <a:cubicBezTo>
                    <a:pt x="183" y="952"/>
                    <a:pt x="292" y="1333"/>
                    <a:pt x="701" y="1629"/>
                  </a:cubicBezTo>
                  <a:cubicBezTo>
                    <a:pt x="701" y="1629"/>
                    <a:pt x="962" y="1268"/>
                    <a:pt x="1022" y="1185"/>
                  </a:cubicBezTo>
                  <a:cubicBezTo>
                    <a:pt x="1039" y="1280"/>
                    <a:pt x="1111" y="1312"/>
                    <a:pt x="1153" y="1319"/>
                  </a:cubicBezTo>
                  <a:cubicBezTo>
                    <a:pt x="1200" y="1330"/>
                    <a:pt x="1267" y="1309"/>
                    <a:pt x="1303" y="1258"/>
                  </a:cubicBezTo>
                  <a:cubicBezTo>
                    <a:pt x="1337" y="1199"/>
                    <a:pt x="1341" y="1161"/>
                    <a:pt x="1315" y="1095"/>
                  </a:cubicBezTo>
                  <a:cubicBezTo>
                    <a:pt x="1289" y="1049"/>
                    <a:pt x="1230" y="995"/>
                    <a:pt x="1144" y="1018"/>
                  </a:cubicBezTo>
                  <a:cubicBezTo>
                    <a:pt x="1349" y="735"/>
                    <a:pt x="1556" y="451"/>
                    <a:pt x="1556" y="451"/>
                  </a:cubicBezTo>
                  <a:close/>
                </a:path>
              </a:pathLst>
            </a:custGeom>
            <a:blipFill dpi="0" rotWithShape="1">
              <a:blip r:embed="rId55"/>
              <a:srcRect/>
              <a:stretch>
                <a:fillRect/>
              </a:stretch>
            </a:blip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 dirty="0"/>
            </a:p>
          </p:txBody>
        </p:sp>
        <p:sp>
          <p:nvSpPr>
            <p:cNvPr id="13" name="Freeform 78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2017" y="2067"/>
              <a:ext cx="1540" cy="1345"/>
            </a:xfrm>
            <a:custGeom>
              <a:avLst/>
              <a:gdLst>
                <a:gd name="T0" fmla="*/ 406 w 1713"/>
                <a:gd name="T1" fmla="*/ 0 h 1498"/>
                <a:gd name="T2" fmla="*/ 211 w 1713"/>
                <a:gd name="T3" fmla="*/ 266 h 1498"/>
                <a:gd name="T4" fmla="*/ 290 w 1713"/>
                <a:gd name="T5" fmla="*/ 301 h 1498"/>
                <a:gd name="T6" fmla="*/ 284 w 1713"/>
                <a:gd name="T7" fmla="*/ 382 h 1498"/>
                <a:gd name="T8" fmla="*/ 205 w 1713"/>
                <a:gd name="T9" fmla="*/ 408 h 1498"/>
                <a:gd name="T10" fmla="*/ 153 w 1713"/>
                <a:gd name="T11" fmla="*/ 346 h 1498"/>
                <a:gd name="T12" fmla="*/ 0 w 1713"/>
                <a:gd name="T13" fmla="*/ 556 h 1498"/>
                <a:gd name="T14" fmla="*/ 431 w 1713"/>
                <a:gd name="T15" fmla="*/ 688 h 1498"/>
                <a:gd name="T16" fmla="*/ 813 w 1713"/>
                <a:gd name="T17" fmla="*/ 554 h 1498"/>
                <a:gd name="T18" fmla="*/ 660 w 1713"/>
                <a:gd name="T19" fmla="*/ 346 h 1498"/>
                <a:gd name="T20" fmla="*/ 740 w 1713"/>
                <a:gd name="T21" fmla="*/ 306 h 1498"/>
                <a:gd name="T22" fmla="*/ 734 w 1713"/>
                <a:gd name="T23" fmla="*/ 231 h 1498"/>
                <a:gd name="T24" fmla="*/ 662 w 1713"/>
                <a:gd name="T25" fmla="*/ 201 h 1498"/>
                <a:gd name="T26" fmla="*/ 602 w 1713"/>
                <a:gd name="T27" fmla="*/ 266 h 1498"/>
                <a:gd name="T28" fmla="*/ 406 w 1713"/>
                <a:gd name="T29" fmla="*/ 0 h 14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13"/>
                <a:gd name="T46" fmla="*/ 0 h 1498"/>
                <a:gd name="T47" fmla="*/ 1713 w 1713"/>
                <a:gd name="T48" fmla="*/ 1498 h 14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13" h="1498">
                  <a:moveTo>
                    <a:pt x="857" y="0"/>
                  </a:moveTo>
                  <a:cubicBezTo>
                    <a:pt x="857" y="0"/>
                    <a:pt x="498" y="472"/>
                    <a:pt x="444" y="567"/>
                  </a:cubicBezTo>
                  <a:cubicBezTo>
                    <a:pt x="532" y="548"/>
                    <a:pt x="586" y="597"/>
                    <a:pt x="612" y="638"/>
                  </a:cubicBezTo>
                  <a:cubicBezTo>
                    <a:pt x="638" y="679"/>
                    <a:pt x="646" y="756"/>
                    <a:pt x="601" y="812"/>
                  </a:cubicBezTo>
                  <a:cubicBezTo>
                    <a:pt x="536" y="882"/>
                    <a:pt x="479" y="880"/>
                    <a:pt x="433" y="867"/>
                  </a:cubicBezTo>
                  <a:cubicBezTo>
                    <a:pt x="387" y="854"/>
                    <a:pt x="339" y="809"/>
                    <a:pt x="322" y="735"/>
                  </a:cubicBezTo>
                  <a:cubicBezTo>
                    <a:pt x="269" y="809"/>
                    <a:pt x="161" y="958"/>
                    <a:pt x="0" y="1179"/>
                  </a:cubicBezTo>
                  <a:cubicBezTo>
                    <a:pt x="430" y="1498"/>
                    <a:pt x="909" y="1461"/>
                    <a:pt x="909" y="1461"/>
                  </a:cubicBezTo>
                  <a:cubicBezTo>
                    <a:pt x="909" y="1461"/>
                    <a:pt x="1305" y="1475"/>
                    <a:pt x="1713" y="1177"/>
                  </a:cubicBezTo>
                  <a:cubicBezTo>
                    <a:pt x="1713" y="1177"/>
                    <a:pt x="1450" y="817"/>
                    <a:pt x="1390" y="735"/>
                  </a:cubicBezTo>
                  <a:cubicBezTo>
                    <a:pt x="1485" y="748"/>
                    <a:pt x="1538" y="689"/>
                    <a:pt x="1558" y="652"/>
                  </a:cubicBezTo>
                  <a:cubicBezTo>
                    <a:pt x="1583" y="610"/>
                    <a:pt x="1583" y="540"/>
                    <a:pt x="1546" y="490"/>
                  </a:cubicBezTo>
                  <a:cubicBezTo>
                    <a:pt x="1500" y="440"/>
                    <a:pt x="1466" y="424"/>
                    <a:pt x="1395" y="428"/>
                  </a:cubicBezTo>
                  <a:cubicBezTo>
                    <a:pt x="1343" y="439"/>
                    <a:pt x="1273" y="478"/>
                    <a:pt x="1269" y="567"/>
                  </a:cubicBezTo>
                  <a:cubicBezTo>
                    <a:pt x="1063" y="285"/>
                    <a:pt x="857" y="0"/>
                    <a:pt x="857" y="0"/>
                  </a:cubicBezTo>
                  <a:close/>
                </a:path>
              </a:pathLst>
            </a:custGeom>
            <a:solidFill>
              <a:srgbClr val="FFFB9C"/>
            </a:solid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pt-BR" dirty="0"/>
            </a:p>
          </p:txBody>
        </p:sp>
        <p:sp>
          <p:nvSpPr>
            <p:cNvPr id="14" name="Freeform 79" descr="FOTO 0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2787" y="1596"/>
              <a:ext cx="1384" cy="1529"/>
            </a:xfrm>
            <a:custGeom>
              <a:avLst/>
              <a:gdLst>
                <a:gd name="T0" fmla="*/ 0 w 1541"/>
                <a:gd name="T1" fmla="*/ 246 h 1703"/>
                <a:gd name="T2" fmla="*/ 194 w 1541"/>
                <a:gd name="T3" fmla="*/ 514 h 1703"/>
                <a:gd name="T4" fmla="*/ 250 w 1541"/>
                <a:gd name="T5" fmla="*/ 449 h 1703"/>
                <a:gd name="T6" fmla="*/ 327 w 1541"/>
                <a:gd name="T7" fmla="*/ 479 h 1703"/>
                <a:gd name="T8" fmla="*/ 328 w 1541"/>
                <a:gd name="T9" fmla="*/ 563 h 1703"/>
                <a:gd name="T10" fmla="*/ 252 w 1541"/>
                <a:gd name="T11" fmla="*/ 592 h 1703"/>
                <a:gd name="T12" fmla="*/ 404 w 1541"/>
                <a:gd name="T13" fmla="*/ 801 h 1703"/>
                <a:gd name="T14" fmla="*/ 662 w 1541"/>
                <a:gd name="T15" fmla="*/ 435 h 1703"/>
                <a:gd name="T16" fmla="*/ 652 w 1541"/>
                <a:gd name="T17" fmla="*/ 35 h 1703"/>
                <a:gd name="T18" fmla="*/ 408 w 1541"/>
                <a:gd name="T19" fmla="*/ 115 h 1703"/>
                <a:gd name="T20" fmla="*/ 394 w 1541"/>
                <a:gd name="T21" fmla="*/ 28 h 1703"/>
                <a:gd name="T22" fmla="*/ 321 w 1541"/>
                <a:gd name="T23" fmla="*/ 10 h 1703"/>
                <a:gd name="T24" fmla="*/ 271 w 1541"/>
                <a:gd name="T25" fmla="*/ 67 h 1703"/>
                <a:gd name="T26" fmla="*/ 314 w 1541"/>
                <a:gd name="T27" fmla="*/ 145 h 1703"/>
                <a:gd name="T28" fmla="*/ 0 w 1541"/>
                <a:gd name="T29" fmla="*/ 246 h 170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41"/>
                <a:gd name="T46" fmla="*/ 0 h 1703"/>
                <a:gd name="T47" fmla="*/ 1541 w 1541"/>
                <a:gd name="T48" fmla="*/ 1703 h 170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41" h="1703">
                  <a:moveTo>
                    <a:pt x="0" y="524"/>
                  </a:moveTo>
                  <a:cubicBezTo>
                    <a:pt x="0" y="524"/>
                    <a:pt x="338" y="1011"/>
                    <a:pt x="412" y="1092"/>
                  </a:cubicBezTo>
                  <a:cubicBezTo>
                    <a:pt x="421" y="1002"/>
                    <a:pt x="484" y="966"/>
                    <a:pt x="531" y="954"/>
                  </a:cubicBezTo>
                  <a:cubicBezTo>
                    <a:pt x="578" y="942"/>
                    <a:pt x="654" y="958"/>
                    <a:pt x="693" y="1018"/>
                  </a:cubicBezTo>
                  <a:cubicBezTo>
                    <a:pt x="740" y="1102"/>
                    <a:pt x="720" y="1155"/>
                    <a:pt x="694" y="1195"/>
                  </a:cubicBezTo>
                  <a:cubicBezTo>
                    <a:pt x="668" y="1235"/>
                    <a:pt x="600" y="1271"/>
                    <a:pt x="534" y="1260"/>
                  </a:cubicBezTo>
                  <a:cubicBezTo>
                    <a:pt x="588" y="1333"/>
                    <a:pt x="696" y="1482"/>
                    <a:pt x="857" y="1703"/>
                  </a:cubicBezTo>
                  <a:cubicBezTo>
                    <a:pt x="1293" y="1393"/>
                    <a:pt x="1406" y="926"/>
                    <a:pt x="1406" y="926"/>
                  </a:cubicBezTo>
                  <a:cubicBezTo>
                    <a:pt x="1406" y="926"/>
                    <a:pt x="1541" y="554"/>
                    <a:pt x="1384" y="74"/>
                  </a:cubicBezTo>
                  <a:cubicBezTo>
                    <a:pt x="1384" y="74"/>
                    <a:pt x="960" y="213"/>
                    <a:pt x="864" y="244"/>
                  </a:cubicBezTo>
                  <a:cubicBezTo>
                    <a:pt x="906" y="158"/>
                    <a:pt x="866" y="89"/>
                    <a:pt x="837" y="59"/>
                  </a:cubicBezTo>
                  <a:cubicBezTo>
                    <a:pt x="805" y="22"/>
                    <a:pt x="738" y="0"/>
                    <a:pt x="679" y="20"/>
                  </a:cubicBezTo>
                  <a:cubicBezTo>
                    <a:pt x="617" y="48"/>
                    <a:pt x="592" y="76"/>
                    <a:pt x="573" y="145"/>
                  </a:cubicBezTo>
                  <a:cubicBezTo>
                    <a:pt x="568" y="197"/>
                    <a:pt x="583" y="276"/>
                    <a:pt x="667" y="307"/>
                  </a:cubicBezTo>
                  <a:cubicBezTo>
                    <a:pt x="335" y="416"/>
                    <a:pt x="0" y="524"/>
                    <a:pt x="0" y="524"/>
                  </a:cubicBezTo>
                  <a:close/>
                </a:path>
              </a:pathLst>
            </a:custGeom>
            <a:blipFill dpi="0" rotWithShape="1">
              <a:blip r:embed="rId56"/>
              <a:srcRect/>
              <a:stretch>
                <a:fillRect/>
              </a:stretch>
            </a:blip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 dirty="0"/>
            </a:p>
          </p:txBody>
        </p:sp>
        <p:sp>
          <p:nvSpPr>
            <p:cNvPr id="15" name="Freeform 80" descr="FOTO 02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543" y="759"/>
              <a:ext cx="1487" cy="1307"/>
            </a:xfrm>
            <a:custGeom>
              <a:avLst/>
              <a:gdLst>
                <a:gd name="T0" fmla="*/ 127 w 1656"/>
                <a:gd name="T1" fmla="*/ 683 h 1456"/>
                <a:gd name="T2" fmla="*/ 442 w 1656"/>
                <a:gd name="T3" fmla="*/ 583 h 1456"/>
                <a:gd name="T4" fmla="*/ 398 w 1656"/>
                <a:gd name="T5" fmla="*/ 509 h 1456"/>
                <a:gd name="T6" fmla="*/ 449 w 1656"/>
                <a:gd name="T7" fmla="*/ 447 h 1456"/>
                <a:gd name="T8" fmla="*/ 527 w 1656"/>
                <a:gd name="T9" fmla="*/ 472 h 1456"/>
                <a:gd name="T10" fmla="*/ 534 w 1656"/>
                <a:gd name="T11" fmla="*/ 553 h 1456"/>
                <a:gd name="T12" fmla="*/ 779 w 1656"/>
                <a:gd name="T13" fmla="*/ 473 h 1456"/>
                <a:gd name="T14" fmla="*/ 512 w 1656"/>
                <a:gd name="T15" fmla="*/ 114 h 1456"/>
                <a:gd name="T16" fmla="*/ 127 w 1656"/>
                <a:gd name="T17" fmla="*/ 1 h 1456"/>
                <a:gd name="T18" fmla="*/ 128 w 1656"/>
                <a:gd name="T19" fmla="*/ 258 h 1456"/>
                <a:gd name="T20" fmla="*/ 41 w 1656"/>
                <a:gd name="T21" fmla="*/ 243 h 1456"/>
                <a:gd name="T22" fmla="*/ 1 w 1656"/>
                <a:gd name="T23" fmla="*/ 308 h 1456"/>
                <a:gd name="T24" fmla="*/ 41 w 1656"/>
                <a:gd name="T25" fmla="*/ 373 h 1456"/>
                <a:gd name="T26" fmla="*/ 127 w 1656"/>
                <a:gd name="T27" fmla="*/ 355 h 1456"/>
                <a:gd name="T28" fmla="*/ 127 w 1656"/>
                <a:gd name="T29" fmla="*/ 683 h 14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56"/>
                <a:gd name="T46" fmla="*/ 0 h 1456"/>
                <a:gd name="T47" fmla="*/ 1656 w 1656"/>
                <a:gd name="T48" fmla="*/ 1456 h 14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56" h="1456">
                  <a:moveTo>
                    <a:pt x="270" y="1456"/>
                  </a:moveTo>
                  <a:cubicBezTo>
                    <a:pt x="270" y="1456"/>
                    <a:pt x="838" y="1285"/>
                    <a:pt x="938" y="1240"/>
                  </a:cubicBezTo>
                  <a:cubicBezTo>
                    <a:pt x="855" y="1204"/>
                    <a:pt x="840" y="1133"/>
                    <a:pt x="843" y="1084"/>
                  </a:cubicBezTo>
                  <a:cubicBezTo>
                    <a:pt x="846" y="1036"/>
                    <a:pt x="908" y="963"/>
                    <a:pt x="954" y="950"/>
                  </a:cubicBezTo>
                  <a:cubicBezTo>
                    <a:pt x="1049" y="931"/>
                    <a:pt x="1090" y="967"/>
                    <a:pt x="1120" y="1005"/>
                  </a:cubicBezTo>
                  <a:cubicBezTo>
                    <a:pt x="1150" y="1043"/>
                    <a:pt x="1171" y="1103"/>
                    <a:pt x="1135" y="1176"/>
                  </a:cubicBezTo>
                  <a:cubicBezTo>
                    <a:pt x="1221" y="1147"/>
                    <a:pt x="1396" y="1091"/>
                    <a:pt x="1656" y="1006"/>
                  </a:cubicBezTo>
                  <a:cubicBezTo>
                    <a:pt x="1496" y="495"/>
                    <a:pt x="1087" y="243"/>
                    <a:pt x="1087" y="243"/>
                  </a:cubicBezTo>
                  <a:cubicBezTo>
                    <a:pt x="1087" y="243"/>
                    <a:pt x="775" y="0"/>
                    <a:pt x="270" y="1"/>
                  </a:cubicBezTo>
                  <a:cubicBezTo>
                    <a:pt x="270" y="1"/>
                    <a:pt x="271" y="447"/>
                    <a:pt x="271" y="548"/>
                  </a:cubicBezTo>
                  <a:cubicBezTo>
                    <a:pt x="202" y="482"/>
                    <a:pt x="124" y="498"/>
                    <a:pt x="87" y="517"/>
                  </a:cubicBezTo>
                  <a:cubicBezTo>
                    <a:pt x="42" y="536"/>
                    <a:pt x="0" y="593"/>
                    <a:pt x="1" y="655"/>
                  </a:cubicBezTo>
                  <a:cubicBezTo>
                    <a:pt x="8" y="723"/>
                    <a:pt x="27" y="755"/>
                    <a:pt x="87" y="794"/>
                  </a:cubicBezTo>
                  <a:cubicBezTo>
                    <a:pt x="135" y="815"/>
                    <a:pt x="215" y="825"/>
                    <a:pt x="270" y="755"/>
                  </a:cubicBezTo>
                  <a:cubicBezTo>
                    <a:pt x="271" y="1104"/>
                    <a:pt x="270" y="1456"/>
                    <a:pt x="270" y="1456"/>
                  </a:cubicBezTo>
                  <a:close/>
                </a:path>
              </a:pathLst>
            </a:custGeom>
            <a:blipFill dpi="0" rotWithShape="1">
              <a:blip r:embed="rId57"/>
              <a:srcRect/>
              <a:stretch>
                <a:fillRect/>
              </a:stretch>
            </a:blip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pt-BR" dirty="0"/>
            </a:p>
          </p:txBody>
        </p:sp>
        <p:grpSp>
          <p:nvGrpSpPr>
            <p:cNvPr id="16" name="Group 81"/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1923" y="921"/>
              <a:ext cx="194" cy="190"/>
              <a:chOff x="1220" y="968"/>
              <a:chExt cx="205" cy="201"/>
            </a:xfrm>
          </p:grpSpPr>
          <p:grpSp>
            <p:nvGrpSpPr>
              <p:cNvPr id="46" name="Group 82"/>
              <p:cNvGrpSpPr>
                <a:grpSpLocks/>
              </p:cNvGrpSpPr>
              <p:nvPr>
                <p:custDataLst>
                  <p:tags r:id="rId46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8" name="Oval 83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9" name="Oval 84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50" name="Oval 85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51" name="Oval 86"/>
                <p:cNvSpPr>
                  <a:spLocks noChangeArrowheads="1"/>
                </p:cNvSpPr>
                <p:nvPr/>
              </p:nvSpPr>
              <p:spPr bwMode="gray">
                <a:xfrm>
                  <a:off x="69" y="1359"/>
                  <a:ext cx="658" cy="58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47" name="Rectangle 87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 flipH="1">
                <a:off x="1291" y="998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17" name="Group 8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3457" y="921"/>
              <a:ext cx="194" cy="190"/>
              <a:chOff x="1220" y="968"/>
              <a:chExt cx="205" cy="201"/>
            </a:xfrm>
          </p:grpSpPr>
          <p:grpSp>
            <p:nvGrpSpPr>
              <p:cNvPr id="40" name="Group 89"/>
              <p:cNvGrpSpPr>
                <a:grpSpLocks/>
              </p:cNvGrpSpPr>
              <p:nvPr>
                <p:custDataLst>
                  <p:tags r:id="rId44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42" name="Oval 90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3" name="Oval 91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4" name="Oval 92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45" name="Oval 93"/>
                <p:cNvSpPr>
                  <a:spLocks noChangeArrowheads="1"/>
                </p:cNvSpPr>
                <p:nvPr/>
              </p:nvSpPr>
              <p:spPr bwMode="gray">
                <a:xfrm>
                  <a:off x="66" y="1359"/>
                  <a:ext cx="666" cy="58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41" name="Rectangle 94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 flipH="1">
                <a:off x="1291" y="998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18" name="Group 95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1431" y="2359"/>
              <a:ext cx="194" cy="190"/>
              <a:chOff x="1220" y="968"/>
              <a:chExt cx="205" cy="201"/>
            </a:xfrm>
          </p:grpSpPr>
          <p:grpSp>
            <p:nvGrpSpPr>
              <p:cNvPr id="34" name="Group 96"/>
              <p:cNvGrpSpPr>
                <a:grpSpLocks/>
              </p:cNvGrpSpPr>
              <p:nvPr>
                <p:custDataLst>
                  <p:tags r:id="rId42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6" name="Oval 97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7" name="Oval 98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8" name="Oval 99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9" name="Oval 100"/>
                <p:cNvSpPr>
                  <a:spLocks noChangeArrowheads="1"/>
                </p:cNvSpPr>
                <p:nvPr/>
              </p:nvSpPr>
              <p:spPr bwMode="gray">
                <a:xfrm>
                  <a:off x="67" y="1361"/>
                  <a:ext cx="658" cy="58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35" name="Rectangle 101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 flipH="1">
                <a:off x="1291" y="998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grpSp>
          <p:nvGrpSpPr>
            <p:cNvPr id="19" name="Group 102"/>
            <p:cNvGrpSpPr>
              <a:grpSpLocks/>
            </p:cNvGrpSpPr>
            <p:nvPr>
              <p:custDataLst>
                <p:tags r:id="rId35"/>
              </p:custDataLst>
            </p:nvPr>
          </p:nvGrpSpPr>
          <p:grpSpPr bwMode="auto">
            <a:xfrm>
              <a:off x="3944" y="2359"/>
              <a:ext cx="194" cy="190"/>
              <a:chOff x="1220" y="968"/>
              <a:chExt cx="205" cy="201"/>
            </a:xfrm>
          </p:grpSpPr>
          <p:grpSp>
            <p:nvGrpSpPr>
              <p:cNvPr id="28" name="Group 103"/>
              <p:cNvGrpSpPr>
                <a:grpSpLocks/>
              </p:cNvGrpSpPr>
              <p:nvPr>
                <p:custDataLst>
                  <p:tags r:id="rId40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30" name="Oval 104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1" name="Oval 105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2" name="Oval 106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33" name="Oval 107"/>
                <p:cNvSpPr>
                  <a:spLocks noChangeArrowheads="1"/>
                </p:cNvSpPr>
                <p:nvPr/>
              </p:nvSpPr>
              <p:spPr bwMode="gray">
                <a:xfrm>
                  <a:off x="65" y="1361"/>
                  <a:ext cx="666" cy="58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29" name="Rectangle 108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 flipH="1">
                <a:off x="1291" y="998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grpSp>
          <p:nvGrpSpPr>
            <p:cNvPr id="20" name="Group 109"/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2689" y="3275"/>
              <a:ext cx="194" cy="191"/>
              <a:chOff x="1220" y="968"/>
              <a:chExt cx="205" cy="201"/>
            </a:xfrm>
          </p:grpSpPr>
          <p:grpSp>
            <p:nvGrpSpPr>
              <p:cNvPr id="22" name="Group 110"/>
              <p:cNvGrpSpPr>
                <a:grpSpLocks/>
              </p:cNvGrpSpPr>
              <p:nvPr>
                <p:custDataLst>
                  <p:tags r:id="rId38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24" name="Oval 11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5" name="Oval 11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6" name="Oval 11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27" name="Oval 114"/>
                <p:cNvSpPr>
                  <a:spLocks noChangeArrowheads="1"/>
                </p:cNvSpPr>
                <p:nvPr/>
              </p:nvSpPr>
              <p:spPr bwMode="gray">
                <a:xfrm>
                  <a:off x="68" y="1360"/>
                  <a:ext cx="658" cy="585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23" name="Rectangle 115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 flipH="1">
                <a:off x="1291" y="999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pic>
          <p:nvPicPr>
            <p:cNvPr id="21" name="Picture 116" descr="MC900434822[1]"/>
            <p:cNvPicPr>
              <a:picLocks noChangeAspect="1" noChangeArrowheads="1"/>
            </p:cNvPicPr>
            <p:nvPr>
              <p:custDataLst>
                <p:tags r:id="rId37"/>
              </p:custDataLst>
            </p:nvPr>
          </p:nvPicPr>
          <p:blipFill>
            <a:blip r:embed="rId58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358" y="2584"/>
              <a:ext cx="849" cy="6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7" name="Grupo 84"/>
          <p:cNvGrpSpPr>
            <a:grpSpLocks/>
          </p:cNvGrpSpPr>
          <p:nvPr/>
        </p:nvGrpSpPr>
        <p:grpSpPr bwMode="auto">
          <a:xfrm>
            <a:off x="2145709" y="560358"/>
            <a:ext cx="5194300" cy="5684838"/>
            <a:chOff x="-6964076" y="-284721"/>
            <a:chExt cx="5193323" cy="5685692"/>
          </a:xfrm>
        </p:grpSpPr>
        <p:sp>
          <p:nvSpPr>
            <p:cNvPr id="58" name="Retângulo 57"/>
            <p:cNvSpPr/>
            <p:nvPr/>
          </p:nvSpPr>
          <p:spPr>
            <a:xfrm>
              <a:off x="-6964076" y="-284721"/>
              <a:ext cx="5193323" cy="568569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59" name="Rectangle 6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 flipH="1">
              <a:off x="-6756126" y="3307781"/>
              <a:ext cx="4813922" cy="1969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>
                <a:spcBef>
                  <a:spcPts val="600"/>
                </a:spcBef>
                <a:buClr>
                  <a:schemeClr val="tx2"/>
                </a:buClr>
              </a:pPr>
              <a:r>
                <a:rPr lang="pt-BR" sz="3200" b="1" dirty="0">
                  <a:latin typeface="Tahoma" pitchFamily="34" charset="0"/>
                  <a:cs typeface="Tahoma" pitchFamily="34" charset="0"/>
                </a:rPr>
                <a:t>Aprimorar as ações e a </a:t>
              </a:r>
              <a:r>
                <a:rPr lang="pt-BR" sz="3200" b="1" dirty="0">
                  <a:solidFill>
                    <a:srgbClr val="C00000"/>
                  </a:solidFill>
                  <a:latin typeface="Tahoma" pitchFamily="34" charset="0"/>
                  <a:cs typeface="Tahoma" pitchFamily="34" charset="0"/>
                </a:rPr>
                <a:t>gestão pedagógica da </a:t>
              </a:r>
              <a:r>
                <a:rPr lang="pt-BR" sz="3200" b="1" dirty="0">
                  <a:latin typeface="Tahoma" pitchFamily="34" charset="0"/>
                  <a:cs typeface="Tahoma" pitchFamily="34" charset="0"/>
                </a:rPr>
                <a:t>Rede com </a:t>
              </a:r>
              <a:r>
                <a:rPr lang="pt-BR" sz="3200" b="1" dirty="0">
                  <a:solidFill>
                    <a:srgbClr val="C00000"/>
                  </a:solidFill>
                  <a:latin typeface="Tahoma" pitchFamily="34" charset="0"/>
                  <a:cs typeface="Tahoma" pitchFamily="34" charset="0"/>
                </a:rPr>
                <a:t>foco no resultado dos alunos</a:t>
              </a:r>
            </a:p>
          </p:txBody>
        </p:sp>
        <p:grpSp>
          <p:nvGrpSpPr>
            <p:cNvPr id="60" name="Grupo 83"/>
            <p:cNvGrpSpPr>
              <a:grpSpLocks/>
            </p:cNvGrpSpPr>
            <p:nvPr/>
          </p:nvGrpSpPr>
          <p:grpSpPr bwMode="auto">
            <a:xfrm>
              <a:off x="-5892800" y="-28336"/>
              <a:ext cx="3467100" cy="3137304"/>
              <a:chOff x="-5373240" y="282978"/>
              <a:chExt cx="2603500" cy="2355851"/>
            </a:xfrm>
          </p:grpSpPr>
          <p:sp>
            <p:nvSpPr>
              <p:cNvPr id="61" name="Freeform 71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-4989065" y="282978"/>
                <a:ext cx="2219325" cy="2351088"/>
              </a:xfrm>
              <a:custGeom>
                <a:avLst/>
                <a:gdLst>
                  <a:gd name="T0" fmla="*/ 2147483647 w 142"/>
                  <a:gd name="T1" fmla="*/ 2147483647 h 150"/>
                  <a:gd name="T2" fmla="*/ 0 w 142"/>
                  <a:gd name="T3" fmla="*/ 2147483647 h 150"/>
                  <a:gd name="T4" fmla="*/ 0 w 142"/>
                  <a:gd name="T5" fmla="*/ 2147483647 h 150"/>
                  <a:gd name="T6" fmla="*/ 0 w 142"/>
                  <a:gd name="T7" fmla="*/ 2147483647 h 150"/>
                  <a:gd name="T8" fmla="*/ 2147483647 w 142"/>
                  <a:gd name="T9" fmla="*/ 2147483647 h 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2"/>
                  <a:gd name="T16" fmla="*/ 0 h 150"/>
                  <a:gd name="T17" fmla="*/ 142 w 142"/>
                  <a:gd name="T18" fmla="*/ 150 h 15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2" h="150">
                    <a:moveTo>
                      <a:pt x="142" y="103"/>
                    </a:moveTo>
                    <a:cubicBezTo>
                      <a:pt x="122" y="42"/>
                      <a:pt x="65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lnTo>
                      <a:pt x="0" y="150"/>
                    </a:lnTo>
                    <a:lnTo>
                      <a:pt x="142" y="103"/>
                    </a:lnTo>
                    <a:close/>
                  </a:path>
                </a:pathLst>
              </a:custGeom>
              <a:solidFill>
                <a:srgbClr val="FF9900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995C00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62" name="Freeform 80" descr="FOTO 02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-5373240" y="563966"/>
                <a:ext cx="2360613" cy="2074863"/>
              </a:xfrm>
              <a:custGeom>
                <a:avLst/>
                <a:gdLst>
                  <a:gd name="T0" fmla="*/ 2147483647 w 1656"/>
                  <a:gd name="T1" fmla="*/ 2147483647 h 1456"/>
                  <a:gd name="T2" fmla="*/ 2147483647 w 1656"/>
                  <a:gd name="T3" fmla="*/ 2147483647 h 1456"/>
                  <a:gd name="T4" fmla="*/ 2147483647 w 1656"/>
                  <a:gd name="T5" fmla="*/ 2147483647 h 1456"/>
                  <a:gd name="T6" fmla="*/ 2147483647 w 1656"/>
                  <a:gd name="T7" fmla="*/ 2147483647 h 1456"/>
                  <a:gd name="T8" fmla="*/ 2147483647 w 1656"/>
                  <a:gd name="T9" fmla="*/ 2147483647 h 1456"/>
                  <a:gd name="T10" fmla="*/ 2147483647 w 1656"/>
                  <a:gd name="T11" fmla="*/ 2147483647 h 1456"/>
                  <a:gd name="T12" fmla="*/ 2147483647 w 1656"/>
                  <a:gd name="T13" fmla="*/ 2147483647 h 1456"/>
                  <a:gd name="T14" fmla="*/ 2147483647 w 1656"/>
                  <a:gd name="T15" fmla="*/ 2147483647 h 1456"/>
                  <a:gd name="T16" fmla="*/ 2147483647 w 1656"/>
                  <a:gd name="T17" fmla="*/ 2147483647 h 1456"/>
                  <a:gd name="T18" fmla="*/ 2147483647 w 1656"/>
                  <a:gd name="T19" fmla="*/ 2147483647 h 1456"/>
                  <a:gd name="T20" fmla="*/ 2147483647 w 1656"/>
                  <a:gd name="T21" fmla="*/ 2147483647 h 1456"/>
                  <a:gd name="T22" fmla="*/ 2147483647 w 1656"/>
                  <a:gd name="T23" fmla="*/ 2147483647 h 1456"/>
                  <a:gd name="T24" fmla="*/ 2147483647 w 1656"/>
                  <a:gd name="T25" fmla="*/ 2147483647 h 1456"/>
                  <a:gd name="T26" fmla="*/ 2147483647 w 1656"/>
                  <a:gd name="T27" fmla="*/ 2147483647 h 1456"/>
                  <a:gd name="T28" fmla="*/ 2147483647 w 1656"/>
                  <a:gd name="T29" fmla="*/ 2147483647 h 145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56"/>
                  <a:gd name="T46" fmla="*/ 0 h 1456"/>
                  <a:gd name="T47" fmla="*/ 1656 w 1656"/>
                  <a:gd name="T48" fmla="*/ 1456 h 145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56" h="1456">
                    <a:moveTo>
                      <a:pt x="270" y="1456"/>
                    </a:moveTo>
                    <a:cubicBezTo>
                      <a:pt x="270" y="1456"/>
                      <a:pt x="838" y="1285"/>
                      <a:pt x="938" y="1240"/>
                    </a:cubicBezTo>
                    <a:cubicBezTo>
                      <a:pt x="855" y="1204"/>
                      <a:pt x="840" y="1133"/>
                      <a:pt x="843" y="1084"/>
                    </a:cubicBezTo>
                    <a:cubicBezTo>
                      <a:pt x="846" y="1036"/>
                      <a:pt x="908" y="963"/>
                      <a:pt x="954" y="950"/>
                    </a:cubicBezTo>
                    <a:cubicBezTo>
                      <a:pt x="1049" y="931"/>
                      <a:pt x="1090" y="967"/>
                      <a:pt x="1120" y="1005"/>
                    </a:cubicBezTo>
                    <a:cubicBezTo>
                      <a:pt x="1150" y="1043"/>
                      <a:pt x="1171" y="1103"/>
                      <a:pt x="1135" y="1176"/>
                    </a:cubicBezTo>
                    <a:cubicBezTo>
                      <a:pt x="1221" y="1147"/>
                      <a:pt x="1396" y="1091"/>
                      <a:pt x="1656" y="1006"/>
                    </a:cubicBezTo>
                    <a:cubicBezTo>
                      <a:pt x="1496" y="495"/>
                      <a:pt x="1087" y="243"/>
                      <a:pt x="1087" y="243"/>
                    </a:cubicBezTo>
                    <a:cubicBezTo>
                      <a:pt x="1087" y="243"/>
                      <a:pt x="775" y="0"/>
                      <a:pt x="270" y="1"/>
                    </a:cubicBezTo>
                    <a:cubicBezTo>
                      <a:pt x="270" y="1"/>
                      <a:pt x="271" y="447"/>
                      <a:pt x="271" y="548"/>
                    </a:cubicBezTo>
                    <a:cubicBezTo>
                      <a:pt x="202" y="482"/>
                      <a:pt x="124" y="498"/>
                      <a:pt x="87" y="517"/>
                    </a:cubicBezTo>
                    <a:cubicBezTo>
                      <a:pt x="42" y="536"/>
                      <a:pt x="0" y="593"/>
                      <a:pt x="1" y="655"/>
                    </a:cubicBezTo>
                    <a:cubicBezTo>
                      <a:pt x="8" y="723"/>
                      <a:pt x="27" y="755"/>
                      <a:pt x="87" y="794"/>
                    </a:cubicBezTo>
                    <a:cubicBezTo>
                      <a:pt x="135" y="815"/>
                      <a:pt x="215" y="825"/>
                      <a:pt x="270" y="755"/>
                    </a:cubicBezTo>
                    <a:cubicBezTo>
                      <a:pt x="271" y="1104"/>
                      <a:pt x="270" y="1456"/>
                      <a:pt x="270" y="1456"/>
                    </a:cubicBezTo>
                    <a:close/>
                  </a:path>
                </a:pathLst>
              </a:custGeom>
              <a:blipFill dpi="0" rotWithShape="1">
                <a:blip r:embed="rId59"/>
                <a:srcRect/>
                <a:stretch>
                  <a:fillRect/>
                </a:stretch>
              </a:blipFill>
              <a:ln w="28575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63" name="Oval 93"/>
              <p:cNvSpPr>
                <a:spLocks noChangeArrowheads="1"/>
              </p:cNvSpPr>
              <p:nvPr/>
            </p:nvSpPr>
            <p:spPr bwMode="gray">
              <a:xfrm>
                <a:off x="-4016846" y="880922"/>
                <a:ext cx="375434" cy="327871"/>
              </a:xfrm>
              <a:prstGeom prst="ellipse">
                <a:avLst/>
              </a:prstGeom>
              <a:solidFill>
                <a:srgbClr val="0065CC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pt-BR" dirty="0">
                  <a:cs typeface="+mn-cs"/>
                </a:endParaRPr>
              </a:p>
            </p:txBody>
          </p:sp>
          <p:sp>
            <p:nvSpPr>
              <p:cNvPr id="64" name="Rectangle 94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 flipH="1">
                <a:off x="-3915627" y="898507"/>
                <a:ext cx="142668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20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65" name="Grupo 99"/>
          <p:cNvGrpSpPr>
            <a:grpSpLocks/>
          </p:cNvGrpSpPr>
          <p:nvPr/>
        </p:nvGrpSpPr>
        <p:grpSpPr bwMode="auto">
          <a:xfrm>
            <a:off x="2158448" y="535571"/>
            <a:ext cx="5194300" cy="5686425"/>
            <a:chOff x="-7405401" y="-1831487"/>
            <a:chExt cx="5193323" cy="5685692"/>
          </a:xfrm>
        </p:grpSpPr>
        <p:sp>
          <p:nvSpPr>
            <p:cNvPr id="66" name="Retângulo 65"/>
            <p:cNvSpPr/>
            <p:nvPr/>
          </p:nvSpPr>
          <p:spPr>
            <a:xfrm>
              <a:off x="-7405401" y="-1831487"/>
              <a:ext cx="5193323" cy="568569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67" name="Rectangle 67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 flipH="1">
              <a:off x="-7193377" y="1290351"/>
              <a:ext cx="4781274" cy="2462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defTabSz="895350">
                <a:spcBef>
                  <a:spcPts val="600"/>
                </a:spcBef>
                <a:buClr>
                  <a:schemeClr val="tx2"/>
                </a:buClr>
              </a:pPr>
              <a:r>
                <a:rPr lang="pt-BR" sz="3200" b="1" dirty="0">
                  <a:latin typeface="Tahoma" pitchFamily="34" charset="0"/>
                  <a:cs typeface="Tahoma" pitchFamily="34" charset="0"/>
                </a:rPr>
                <a:t>Lançar as bases de um </a:t>
              </a:r>
              <a:r>
                <a:rPr lang="pt-BR" sz="3200" b="1" dirty="0">
                  <a:solidFill>
                    <a:srgbClr val="C00000"/>
                  </a:solidFill>
                  <a:latin typeface="Tahoma" pitchFamily="34" charset="0"/>
                  <a:cs typeface="Tahoma" pitchFamily="34" charset="0"/>
                </a:rPr>
                <a:t>novo modelo de escola e um regime na carreira do Magistério mais atrativo </a:t>
              </a:r>
            </a:p>
          </p:txBody>
        </p:sp>
        <p:grpSp>
          <p:nvGrpSpPr>
            <p:cNvPr id="68" name="Grupo 98"/>
            <p:cNvGrpSpPr>
              <a:grpSpLocks/>
            </p:cNvGrpSpPr>
            <p:nvPr/>
          </p:nvGrpSpPr>
          <p:grpSpPr bwMode="auto">
            <a:xfrm>
              <a:off x="-6218591" y="-1757184"/>
              <a:ext cx="2681527" cy="3013768"/>
              <a:chOff x="-6053377" y="-1482544"/>
              <a:chExt cx="2344738" cy="2635251"/>
            </a:xfrm>
          </p:grpSpPr>
          <p:sp>
            <p:nvSpPr>
              <p:cNvPr id="69" name="Freeform 72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-6053377" y="-1477781"/>
                <a:ext cx="2344738" cy="2630488"/>
              </a:xfrm>
              <a:custGeom>
                <a:avLst/>
                <a:gdLst>
                  <a:gd name="T0" fmla="*/ 2147483647 w 150"/>
                  <a:gd name="T1" fmla="*/ 2147483647 h 168"/>
                  <a:gd name="T2" fmla="*/ 2147483647 w 150"/>
                  <a:gd name="T3" fmla="*/ 2147483647 h 168"/>
                  <a:gd name="T4" fmla="*/ 2147483647 w 150"/>
                  <a:gd name="T5" fmla="*/ 0 h 168"/>
                  <a:gd name="T6" fmla="*/ 0 w 150"/>
                  <a:gd name="T7" fmla="*/ 2147483647 h 168"/>
                  <a:gd name="T8" fmla="*/ 2147483647 w 150"/>
                  <a:gd name="T9" fmla="*/ 2147483647 h 1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0"/>
                  <a:gd name="T16" fmla="*/ 0 h 168"/>
                  <a:gd name="T17" fmla="*/ 150 w 150"/>
                  <a:gd name="T18" fmla="*/ 168 h 1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0" h="168">
                    <a:moveTo>
                      <a:pt x="88" y="168"/>
                    </a:moveTo>
                    <a:cubicBezTo>
                      <a:pt x="127" y="140"/>
                      <a:pt x="150" y="95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88" y="168"/>
                    </a:lnTo>
                    <a:close/>
                  </a:path>
                </a:pathLst>
              </a:custGeom>
              <a:solidFill>
                <a:srgbClr val="FFCC66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997A3D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70" name="Freeform 79" descr="FOTO 0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-6050202" y="-1482544"/>
                <a:ext cx="2197100" cy="2427288"/>
              </a:xfrm>
              <a:custGeom>
                <a:avLst/>
                <a:gdLst>
                  <a:gd name="T0" fmla="*/ 0 w 1541"/>
                  <a:gd name="T1" fmla="*/ 2147483647 h 1703"/>
                  <a:gd name="T2" fmla="*/ 2147483647 w 1541"/>
                  <a:gd name="T3" fmla="*/ 2147483647 h 1703"/>
                  <a:gd name="T4" fmla="*/ 2147483647 w 1541"/>
                  <a:gd name="T5" fmla="*/ 2147483647 h 1703"/>
                  <a:gd name="T6" fmla="*/ 2147483647 w 1541"/>
                  <a:gd name="T7" fmla="*/ 2147483647 h 1703"/>
                  <a:gd name="T8" fmla="*/ 2147483647 w 1541"/>
                  <a:gd name="T9" fmla="*/ 2147483647 h 1703"/>
                  <a:gd name="T10" fmla="*/ 2147483647 w 1541"/>
                  <a:gd name="T11" fmla="*/ 2147483647 h 1703"/>
                  <a:gd name="T12" fmla="*/ 2147483647 w 1541"/>
                  <a:gd name="T13" fmla="*/ 2147483647 h 1703"/>
                  <a:gd name="T14" fmla="*/ 2147483647 w 1541"/>
                  <a:gd name="T15" fmla="*/ 2147483647 h 1703"/>
                  <a:gd name="T16" fmla="*/ 2147483647 w 1541"/>
                  <a:gd name="T17" fmla="*/ 2147483647 h 1703"/>
                  <a:gd name="T18" fmla="*/ 2147483647 w 1541"/>
                  <a:gd name="T19" fmla="*/ 2147483647 h 1703"/>
                  <a:gd name="T20" fmla="*/ 2147483647 w 1541"/>
                  <a:gd name="T21" fmla="*/ 2147483647 h 1703"/>
                  <a:gd name="T22" fmla="*/ 2147483647 w 1541"/>
                  <a:gd name="T23" fmla="*/ 2147483647 h 1703"/>
                  <a:gd name="T24" fmla="*/ 2147483647 w 1541"/>
                  <a:gd name="T25" fmla="*/ 2147483647 h 1703"/>
                  <a:gd name="T26" fmla="*/ 2147483647 w 1541"/>
                  <a:gd name="T27" fmla="*/ 2147483647 h 1703"/>
                  <a:gd name="T28" fmla="*/ 0 w 1541"/>
                  <a:gd name="T29" fmla="*/ 2147483647 h 170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41"/>
                  <a:gd name="T46" fmla="*/ 0 h 1703"/>
                  <a:gd name="T47" fmla="*/ 1541 w 1541"/>
                  <a:gd name="T48" fmla="*/ 1703 h 170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41" h="1703">
                    <a:moveTo>
                      <a:pt x="0" y="524"/>
                    </a:moveTo>
                    <a:cubicBezTo>
                      <a:pt x="0" y="524"/>
                      <a:pt x="338" y="1011"/>
                      <a:pt x="412" y="1092"/>
                    </a:cubicBezTo>
                    <a:cubicBezTo>
                      <a:pt x="421" y="1002"/>
                      <a:pt x="484" y="966"/>
                      <a:pt x="531" y="954"/>
                    </a:cubicBezTo>
                    <a:cubicBezTo>
                      <a:pt x="578" y="942"/>
                      <a:pt x="654" y="958"/>
                      <a:pt x="693" y="1018"/>
                    </a:cubicBezTo>
                    <a:cubicBezTo>
                      <a:pt x="740" y="1102"/>
                      <a:pt x="720" y="1155"/>
                      <a:pt x="694" y="1195"/>
                    </a:cubicBezTo>
                    <a:cubicBezTo>
                      <a:pt x="668" y="1235"/>
                      <a:pt x="600" y="1271"/>
                      <a:pt x="534" y="1260"/>
                    </a:cubicBezTo>
                    <a:cubicBezTo>
                      <a:pt x="588" y="1333"/>
                      <a:pt x="696" y="1482"/>
                      <a:pt x="857" y="1703"/>
                    </a:cubicBezTo>
                    <a:cubicBezTo>
                      <a:pt x="1293" y="1393"/>
                      <a:pt x="1406" y="926"/>
                      <a:pt x="1406" y="926"/>
                    </a:cubicBezTo>
                    <a:cubicBezTo>
                      <a:pt x="1406" y="926"/>
                      <a:pt x="1541" y="554"/>
                      <a:pt x="1384" y="74"/>
                    </a:cubicBezTo>
                    <a:cubicBezTo>
                      <a:pt x="1384" y="74"/>
                      <a:pt x="960" y="213"/>
                      <a:pt x="864" y="244"/>
                    </a:cubicBezTo>
                    <a:cubicBezTo>
                      <a:pt x="906" y="158"/>
                      <a:pt x="866" y="89"/>
                      <a:pt x="837" y="59"/>
                    </a:cubicBezTo>
                    <a:cubicBezTo>
                      <a:pt x="805" y="22"/>
                      <a:pt x="738" y="0"/>
                      <a:pt x="679" y="20"/>
                    </a:cubicBezTo>
                    <a:cubicBezTo>
                      <a:pt x="617" y="48"/>
                      <a:pt x="592" y="76"/>
                      <a:pt x="573" y="145"/>
                    </a:cubicBezTo>
                    <a:cubicBezTo>
                      <a:pt x="568" y="197"/>
                      <a:pt x="583" y="276"/>
                      <a:pt x="667" y="307"/>
                    </a:cubicBezTo>
                    <a:cubicBezTo>
                      <a:pt x="335" y="416"/>
                      <a:pt x="0" y="524"/>
                      <a:pt x="0" y="524"/>
                    </a:cubicBezTo>
                    <a:close/>
                  </a:path>
                </a:pathLst>
              </a:custGeom>
              <a:blipFill dpi="0" rotWithShape="1">
                <a:blip r:embed="rId56"/>
                <a:srcRect/>
                <a:stretch>
                  <a:fillRect/>
                </a:stretch>
              </a:blipFill>
              <a:ln w="28575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71" name="Oval 107"/>
              <p:cNvSpPr>
                <a:spLocks noChangeArrowheads="1"/>
              </p:cNvSpPr>
              <p:nvPr/>
            </p:nvSpPr>
            <p:spPr bwMode="gray">
              <a:xfrm>
                <a:off x="-4186346" y="-258122"/>
                <a:ext cx="253977" cy="220682"/>
              </a:xfrm>
              <a:prstGeom prst="ellipse">
                <a:avLst/>
              </a:prstGeom>
              <a:solidFill>
                <a:srgbClr val="0065CC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pt-BR" dirty="0">
                  <a:cs typeface="+mn-cs"/>
                </a:endParaRPr>
              </a:p>
            </p:txBody>
          </p:sp>
          <p:sp>
            <p:nvSpPr>
              <p:cNvPr id="72" name="Rectangle 108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 flipH="1">
                <a:off x="-4127301" y="-276015"/>
                <a:ext cx="124749" cy="2691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20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73" name="Grupo 114"/>
          <p:cNvGrpSpPr>
            <a:grpSpLocks/>
          </p:cNvGrpSpPr>
          <p:nvPr/>
        </p:nvGrpSpPr>
        <p:grpSpPr bwMode="auto">
          <a:xfrm>
            <a:off x="2158448" y="558242"/>
            <a:ext cx="5194300" cy="5684837"/>
            <a:chOff x="-8548400" y="-860280"/>
            <a:chExt cx="5193323" cy="5685692"/>
          </a:xfrm>
        </p:grpSpPr>
        <p:sp>
          <p:nvSpPr>
            <p:cNvPr id="74" name="Retângulo 73"/>
            <p:cNvSpPr/>
            <p:nvPr/>
          </p:nvSpPr>
          <p:spPr>
            <a:xfrm>
              <a:off x="-8548400" y="-860280"/>
              <a:ext cx="5193323" cy="568569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75" name="Rectangle 68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flipH="1">
              <a:off x="-8434102" y="2355313"/>
              <a:ext cx="5079023" cy="2462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Ctr="1">
              <a:spAutoFit/>
            </a:bodyPr>
            <a:lstStyle/>
            <a:p>
              <a:pPr algn="ctr" defTabSz="895350">
                <a:spcBef>
                  <a:spcPts val="600"/>
                </a:spcBef>
                <a:buClr>
                  <a:schemeClr val="tx2"/>
                </a:buClr>
              </a:pPr>
              <a:r>
                <a:rPr lang="pt-BR" sz="3200" b="1" dirty="0">
                  <a:latin typeface="Tahoma" pitchFamily="34" charset="0"/>
                  <a:cs typeface="Tahoma" pitchFamily="34" charset="0"/>
                </a:rPr>
                <a:t>Viabilizar </a:t>
              </a:r>
              <a:r>
                <a:rPr lang="pt-BR" sz="3200" b="1" dirty="0">
                  <a:solidFill>
                    <a:srgbClr val="C00000"/>
                  </a:solidFill>
                  <a:latin typeface="Tahoma" pitchFamily="34" charset="0"/>
                  <a:cs typeface="Tahoma" pitchFamily="34" charset="0"/>
                </a:rPr>
                <a:t>mecanismos organizacionais e financeiros </a:t>
              </a:r>
              <a:r>
                <a:rPr lang="pt-BR" sz="3200" b="1" dirty="0">
                  <a:latin typeface="Tahoma" pitchFamily="34" charset="0"/>
                  <a:cs typeface="Tahoma" pitchFamily="34" charset="0"/>
                </a:rPr>
                <a:t>para operacionalizar o Programa</a:t>
              </a:r>
            </a:p>
          </p:txBody>
        </p:sp>
        <p:grpSp>
          <p:nvGrpSpPr>
            <p:cNvPr id="76" name="Grupo 113"/>
            <p:cNvGrpSpPr>
              <a:grpSpLocks/>
            </p:cNvGrpSpPr>
            <p:nvPr/>
          </p:nvGrpSpPr>
          <p:grpSpPr bwMode="auto">
            <a:xfrm>
              <a:off x="-7520867" y="-642379"/>
              <a:ext cx="3246046" cy="2753142"/>
              <a:chOff x="-7310121" y="-221275"/>
              <a:chExt cx="2749550" cy="2332038"/>
            </a:xfrm>
          </p:grpSpPr>
          <p:sp>
            <p:nvSpPr>
              <p:cNvPr id="77" name="Freeform 73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-7310121" y="-221275"/>
                <a:ext cx="2749550" cy="2332038"/>
              </a:xfrm>
              <a:custGeom>
                <a:avLst/>
                <a:gdLst>
                  <a:gd name="T0" fmla="*/ 0 w 176"/>
                  <a:gd name="T1" fmla="*/ 2147483647 h 149"/>
                  <a:gd name="T2" fmla="*/ 2147483647 w 176"/>
                  <a:gd name="T3" fmla="*/ 2147483647 h 149"/>
                  <a:gd name="T4" fmla="*/ 2147483647 w 176"/>
                  <a:gd name="T5" fmla="*/ 2147483647 h 149"/>
                  <a:gd name="T6" fmla="*/ 2147483647 w 176"/>
                  <a:gd name="T7" fmla="*/ 0 h 149"/>
                  <a:gd name="T8" fmla="*/ 0 w 176"/>
                  <a:gd name="T9" fmla="*/ 2147483647 h 1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149"/>
                  <a:gd name="T17" fmla="*/ 176 w 176"/>
                  <a:gd name="T18" fmla="*/ 149 h 1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149">
                    <a:moveTo>
                      <a:pt x="0" y="120"/>
                    </a:moveTo>
                    <a:cubicBezTo>
                      <a:pt x="25" y="139"/>
                      <a:pt x="56" y="149"/>
                      <a:pt x="88" y="149"/>
                    </a:cubicBezTo>
                    <a:cubicBezTo>
                      <a:pt x="120" y="149"/>
                      <a:pt x="150" y="140"/>
                      <a:pt x="176" y="121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7ED65"/>
              </a:solidFill>
              <a:ln w="19050">
                <a:noFill/>
                <a:round/>
                <a:headEnd/>
                <a:tailEnd/>
              </a:ln>
              <a:effectLst>
                <a:prstShdw prst="shdw17" dist="17961" dir="2700000">
                  <a:srgbClr val="948E3D"/>
                </a:prstShdw>
              </a:effectLst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78" name="Oval 114"/>
              <p:cNvSpPr>
                <a:spLocks noChangeArrowheads="1"/>
              </p:cNvSpPr>
              <p:nvPr/>
            </p:nvSpPr>
            <p:spPr bwMode="gray">
              <a:xfrm>
                <a:off x="-6058975" y="1715041"/>
                <a:ext cx="254098" cy="224597"/>
              </a:xfrm>
              <a:prstGeom prst="ellipse">
                <a:avLst/>
              </a:prstGeom>
              <a:solidFill>
                <a:srgbClr val="0065CC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pt-BR" dirty="0">
                  <a:cs typeface="+mn-cs"/>
                </a:endParaRPr>
              </a:p>
            </p:txBody>
          </p:sp>
          <p:sp>
            <p:nvSpPr>
              <p:cNvPr id="79" name="Rectangle 115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 flipH="1">
                <a:off x="-6009283" y="1689960"/>
                <a:ext cx="120846" cy="2607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20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  <p:pic>
            <p:nvPicPr>
              <p:cNvPr id="80" name="Picture 116" descr="MC900434822[1]"/>
              <p:cNvPicPr>
                <a:picLocks noChangeAspect="1" noChangeArrowheads="1"/>
              </p:cNvPicPr>
              <p:nvPr>
                <p:custDataLst>
                  <p:tags r:id="rId17"/>
                </p:custDataLst>
              </p:nvPr>
            </p:nvPicPr>
            <p:blipFill>
              <a:blip r:embed="rId58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-6611621" y="605812"/>
                <a:ext cx="1347788" cy="10906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81" name="Grupo 129"/>
          <p:cNvGrpSpPr>
            <a:grpSpLocks/>
          </p:cNvGrpSpPr>
          <p:nvPr/>
        </p:nvGrpSpPr>
        <p:grpSpPr bwMode="auto">
          <a:xfrm>
            <a:off x="2158448" y="558242"/>
            <a:ext cx="5194300" cy="5684838"/>
            <a:chOff x="-9228991" y="-1051511"/>
            <a:chExt cx="5193323" cy="5685692"/>
          </a:xfrm>
        </p:grpSpPr>
        <p:sp>
          <p:nvSpPr>
            <p:cNvPr id="82" name="Retângulo 81"/>
            <p:cNvSpPr/>
            <p:nvPr/>
          </p:nvSpPr>
          <p:spPr>
            <a:xfrm>
              <a:off x="-9228991" y="-1051511"/>
              <a:ext cx="5193323" cy="568569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sp>
          <p:nvSpPr>
            <p:cNvPr id="83" name="Rectangle 6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-9048396" y="2338439"/>
              <a:ext cx="4812701" cy="2154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defTabSz="895350">
                <a:spcBef>
                  <a:spcPts val="600"/>
                </a:spcBef>
                <a:buClr>
                  <a:schemeClr val="tx2"/>
                </a:buClr>
              </a:pPr>
              <a:r>
                <a:rPr lang="pt-BR" sz="2800" b="1" dirty="0">
                  <a:solidFill>
                    <a:srgbClr val="C00000"/>
                  </a:solidFill>
                  <a:latin typeface="Tahoma" pitchFamily="34" charset="0"/>
                  <a:cs typeface="Tahoma" pitchFamily="34" charset="0"/>
                </a:rPr>
                <a:t>Mobilizar, Engajar e Responsabilizar </a:t>
              </a:r>
              <a:r>
                <a:rPr lang="pt-BR" sz="2800" b="1" dirty="0">
                  <a:latin typeface="Tahoma" pitchFamily="34" charset="0"/>
                  <a:cs typeface="Tahoma" pitchFamily="34" charset="0"/>
                </a:rPr>
                <a:t>a Rede, </a:t>
              </a:r>
              <a:br>
                <a:rPr lang="pt-BR" sz="2800" b="1" dirty="0">
                  <a:latin typeface="Tahoma" pitchFamily="34" charset="0"/>
                  <a:cs typeface="Tahoma" pitchFamily="34" charset="0"/>
                </a:rPr>
              </a:br>
              <a:r>
                <a:rPr lang="pt-BR" sz="2800" b="1" dirty="0">
                  <a:latin typeface="Tahoma" pitchFamily="34" charset="0"/>
                  <a:cs typeface="Tahoma" pitchFamily="34" charset="0"/>
                </a:rPr>
                <a:t>os Alunos e a Sociedade em torno do processo </a:t>
              </a:r>
              <a:br>
                <a:rPr lang="pt-BR" sz="2800" b="1" dirty="0">
                  <a:latin typeface="Tahoma" pitchFamily="34" charset="0"/>
                  <a:cs typeface="Tahoma" pitchFamily="34" charset="0"/>
                </a:rPr>
              </a:br>
              <a:r>
                <a:rPr lang="pt-BR" sz="2800" b="1" dirty="0">
                  <a:latin typeface="Tahoma" pitchFamily="34" charset="0"/>
                  <a:cs typeface="Tahoma" pitchFamily="34" charset="0"/>
                </a:rPr>
                <a:t>de </a:t>
              </a:r>
              <a:r>
                <a:rPr lang="pt-BR" sz="2800" b="1" dirty="0">
                  <a:solidFill>
                    <a:srgbClr val="C00000"/>
                  </a:solidFill>
                  <a:latin typeface="Tahoma" pitchFamily="34" charset="0"/>
                  <a:cs typeface="Tahoma" pitchFamily="34" charset="0"/>
                </a:rPr>
                <a:t>ensino-aprendizagem</a:t>
              </a:r>
              <a:r>
                <a:rPr lang="pt-BR" sz="2800" b="1" dirty="0">
                  <a:solidFill>
                    <a:srgbClr val="FF6600"/>
                  </a:solidFill>
                  <a:latin typeface="Tahoma" pitchFamily="34" charset="0"/>
                  <a:cs typeface="Tahoma" pitchFamily="34" charset="0"/>
                </a:rPr>
                <a:t> </a:t>
              </a:r>
            </a:p>
          </p:txBody>
        </p:sp>
        <p:grpSp>
          <p:nvGrpSpPr>
            <p:cNvPr id="84" name="Grupo 128"/>
            <p:cNvGrpSpPr>
              <a:grpSpLocks/>
            </p:cNvGrpSpPr>
            <p:nvPr/>
          </p:nvGrpSpPr>
          <p:grpSpPr bwMode="auto">
            <a:xfrm>
              <a:off x="-7798104" y="-822911"/>
              <a:ext cx="2683204" cy="2965645"/>
              <a:chOff x="-7810476" y="-686191"/>
              <a:chExt cx="2352676" cy="2600325"/>
            </a:xfrm>
          </p:grpSpPr>
          <p:sp>
            <p:nvSpPr>
              <p:cNvPr id="85" name="Freeform 74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-7810476" y="-686191"/>
                <a:ext cx="2347913" cy="2600325"/>
              </a:xfrm>
              <a:custGeom>
                <a:avLst/>
                <a:gdLst>
                  <a:gd name="T0" fmla="*/ 2147483647 w 150"/>
                  <a:gd name="T1" fmla="*/ 0 h 166"/>
                  <a:gd name="T2" fmla="*/ 2147483647 w 150"/>
                  <a:gd name="T3" fmla="*/ 2147483647 h 166"/>
                  <a:gd name="T4" fmla="*/ 2147483647 w 150"/>
                  <a:gd name="T5" fmla="*/ 2147483647 h 166"/>
                  <a:gd name="T6" fmla="*/ 2147483647 w 150"/>
                  <a:gd name="T7" fmla="*/ 2147483647 h 166"/>
                  <a:gd name="T8" fmla="*/ 2147483647 w 150"/>
                  <a:gd name="T9" fmla="*/ 0 h 1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0"/>
                  <a:gd name="T16" fmla="*/ 0 h 166"/>
                  <a:gd name="T17" fmla="*/ 150 w 150"/>
                  <a:gd name="T18" fmla="*/ 166 h 1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0" h="166">
                    <a:moveTo>
                      <a:pt x="8" y="0"/>
                    </a:moveTo>
                    <a:cubicBezTo>
                      <a:pt x="3" y="15"/>
                      <a:pt x="1" y="30"/>
                      <a:pt x="1" y="46"/>
                    </a:cubicBezTo>
                    <a:cubicBezTo>
                      <a:pt x="0" y="94"/>
                      <a:pt x="23" y="138"/>
                      <a:pt x="62" y="166"/>
                    </a:cubicBezTo>
                    <a:lnTo>
                      <a:pt x="150" y="4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33CCCC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1F7A7A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86" name="Freeform 77" descr="FOTO 05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-7678713" y="-597291"/>
                <a:ext cx="2220913" cy="2322513"/>
              </a:xfrm>
              <a:custGeom>
                <a:avLst/>
                <a:gdLst>
                  <a:gd name="T0" fmla="*/ 2147483647 w 1556"/>
                  <a:gd name="T1" fmla="*/ 2147483647 h 1629"/>
                  <a:gd name="T2" fmla="*/ 2147483647 w 1556"/>
                  <a:gd name="T3" fmla="*/ 2147483647 h 1629"/>
                  <a:gd name="T4" fmla="*/ 2147483647 w 1556"/>
                  <a:gd name="T5" fmla="*/ 2147483647 h 1629"/>
                  <a:gd name="T6" fmla="*/ 2147483647 w 1556"/>
                  <a:gd name="T7" fmla="*/ 2147483647 h 1629"/>
                  <a:gd name="T8" fmla="*/ 2147483647 w 1556"/>
                  <a:gd name="T9" fmla="*/ 2147483647 h 1629"/>
                  <a:gd name="T10" fmla="*/ 2147483647 w 1556"/>
                  <a:gd name="T11" fmla="*/ 2147483647 h 1629"/>
                  <a:gd name="T12" fmla="*/ 2147483647 w 1556"/>
                  <a:gd name="T13" fmla="*/ 0 h 1629"/>
                  <a:gd name="T14" fmla="*/ 2147483647 w 1556"/>
                  <a:gd name="T15" fmla="*/ 2147483647 h 1629"/>
                  <a:gd name="T16" fmla="*/ 2147483647 w 1556"/>
                  <a:gd name="T17" fmla="*/ 2147483647 h 1629"/>
                  <a:gd name="T18" fmla="*/ 2147483647 w 1556"/>
                  <a:gd name="T19" fmla="*/ 2147483647 h 1629"/>
                  <a:gd name="T20" fmla="*/ 2147483647 w 1556"/>
                  <a:gd name="T21" fmla="*/ 2147483647 h 1629"/>
                  <a:gd name="T22" fmla="*/ 2147483647 w 1556"/>
                  <a:gd name="T23" fmla="*/ 2147483647 h 1629"/>
                  <a:gd name="T24" fmla="*/ 2147483647 w 1556"/>
                  <a:gd name="T25" fmla="*/ 2147483647 h 1629"/>
                  <a:gd name="T26" fmla="*/ 2147483647 w 1556"/>
                  <a:gd name="T27" fmla="*/ 2147483647 h 1629"/>
                  <a:gd name="T28" fmla="*/ 2147483647 w 1556"/>
                  <a:gd name="T29" fmla="*/ 2147483647 h 16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556"/>
                  <a:gd name="T46" fmla="*/ 0 h 1629"/>
                  <a:gd name="T47" fmla="*/ 1556 w 1556"/>
                  <a:gd name="T48" fmla="*/ 1629 h 16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556" h="1629">
                    <a:moveTo>
                      <a:pt x="1556" y="451"/>
                    </a:moveTo>
                    <a:cubicBezTo>
                      <a:pt x="1556" y="451"/>
                      <a:pt x="1047" y="286"/>
                      <a:pt x="889" y="234"/>
                    </a:cubicBezTo>
                    <a:cubicBezTo>
                      <a:pt x="933" y="311"/>
                      <a:pt x="904" y="378"/>
                      <a:pt x="874" y="415"/>
                    </a:cubicBezTo>
                    <a:cubicBezTo>
                      <a:pt x="844" y="452"/>
                      <a:pt x="772" y="484"/>
                      <a:pt x="705" y="459"/>
                    </a:cubicBezTo>
                    <a:cubicBezTo>
                      <a:pt x="618" y="419"/>
                      <a:pt x="603" y="364"/>
                      <a:pt x="601" y="316"/>
                    </a:cubicBezTo>
                    <a:cubicBezTo>
                      <a:pt x="599" y="268"/>
                      <a:pt x="627" y="208"/>
                      <a:pt x="692" y="170"/>
                    </a:cubicBezTo>
                    <a:cubicBezTo>
                      <a:pt x="605" y="142"/>
                      <a:pt x="430" y="85"/>
                      <a:pt x="170" y="0"/>
                    </a:cubicBezTo>
                    <a:cubicBezTo>
                      <a:pt x="0" y="508"/>
                      <a:pt x="183" y="952"/>
                      <a:pt x="183" y="952"/>
                    </a:cubicBezTo>
                    <a:cubicBezTo>
                      <a:pt x="183" y="952"/>
                      <a:pt x="292" y="1333"/>
                      <a:pt x="701" y="1629"/>
                    </a:cubicBezTo>
                    <a:cubicBezTo>
                      <a:pt x="701" y="1629"/>
                      <a:pt x="962" y="1268"/>
                      <a:pt x="1022" y="1185"/>
                    </a:cubicBezTo>
                    <a:cubicBezTo>
                      <a:pt x="1039" y="1280"/>
                      <a:pt x="1111" y="1312"/>
                      <a:pt x="1153" y="1319"/>
                    </a:cubicBezTo>
                    <a:cubicBezTo>
                      <a:pt x="1200" y="1330"/>
                      <a:pt x="1267" y="1309"/>
                      <a:pt x="1303" y="1258"/>
                    </a:cubicBezTo>
                    <a:cubicBezTo>
                      <a:pt x="1337" y="1199"/>
                      <a:pt x="1341" y="1161"/>
                      <a:pt x="1315" y="1095"/>
                    </a:cubicBezTo>
                    <a:cubicBezTo>
                      <a:pt x="1289" y="1049"/>
                      <a:pt x="1230" y="995"/>
                      <a:pt x="1144" y="1018"/>
                    </a:cubicBezTo>
                    <a:cubicBezTo>
                      <a:pt x="1349" y="735"/>
                      <a:pt x="1556" y="451"/>
                      <a:pt x="1556" y="451"/>
                    </a:cubicBezTo>
                    <a:close/>
                  </a:path>
                </a:pathLst>
              </a:custGeom>
              <a:blipFill dpi="0" rotWithShape="1">
                <a:blip r:embed="rId55"/>
                <a:srcRect/>
                <a:stretch>
                  <a:fillRect/>
                </a:stretch>
              </a:blipFill>
              <a:ln w="28575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87" name="Oval 99"/>
              <p:cNvSpPr>
                <a:spLocks noChangeArrowheads="1"/>
              </p:cNvSpPr>
              <p:nvPr/>
            </p:nvSpPr>
            <p:spPr bwMode="gray">
              <a:xfrm>
                <a:off x="-7600518" y="510633"/>
                <a:ext cx="285318" cy="275113"/>
              </a:xfrm>
              <a:prstGeom prst="ellipse">
                <a:avLst/>
              </a:prstGeom>
              <a:gradFill rotWithShape="1">
                <a:gsLst>
                  <a:gs pos="0">
                    <a:srgbClr val="0050A2"/>
                  </a:gs>
                  <a:gs pos="100000">
                    <a:srgbClr val="0065CC">
                      <a:alpha val="60001"/>
                    </a:srgb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</p:spPr>
            <p:txBody>
              <a:bodyPr vert="eaVert" wrap="none" anchor="ctr"/>
              <a:lstStyle/>
              <a:p>
                <a:endParaRPr lang="pt-BR" dirty="0"/>
              </a:p>
            </p:txBody>
          </p:sp>
          <p:sp>
            <p:nvSpPr>
              <p:cNvPr id="88" name="Rectangle 10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 flipH="1">
                <a:off x="-7522076" y="510783"/>
                <a:ext cx="125094" cy="2698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20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sp>
        <p:nvSpPr>
          <p:cNvPr id="89" name="Retângulo 88"/>
          <p:cNvSpPr/>
          <p:nvPr/>
        </p:nvSpPr>
        <p:spPr>
          <a:xfrm>
            <a:off x="3057910" y="1213084"/>
            <a:ext cx="1573959" cy="160853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90" name="Retângulo 89"/>
          <p:cNvSpPr/>
          <p:nvPr/>
        </p:nvSpPr>
        <p:spPr>
          <a:xfrm>
            <a:off x="4618689" y="1213084"/>
            <a:ext cx="1575992" cy="1608530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91" name="Retângulo 90"/>
          <p:cNvSpPr/>
          <p:nvPr/>
        </p:nvSpPr>
        <p:spPr>
          <a:xfrm>
            <a:off x="4742859" y="2468796"/>
            <a:ext cx="1451947" cy="1486517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92" name="Retângulo 91"/>
          <p:cNvSpPr/>
          <p:nvPr/>
        </p:nvSpPr>
        <p:spPr>
          <a:xfrm>
            <a:off x="3760633" y="2811196"/>
            <a:ext cx="1708173" cy="1608529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93" name="Retângulo 92"/>
          <p:cNvSpPr/>
          <p:nvPr/>
        </p:nvSpPr>
        <p:spPr>
          <a:xfrm>
            <a:off x="2998285" y="2379072"/>
            <a:ext cx="1573959" cy="1578026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grpSp>
        <p:nvGrpSpPr>
          <p:cNvPr id="94" name="Grupo 69"/>
          <p:cNvGrpSpPr>
            <a:grpSpLocks/>
          </p:cNvGrpSpPr>
          <p:nvPr/>
        </p:nvGrpSpPr>
        <p:grpSpPr bwMode="auto">
          <a:xfrm>
            <a:off x="2158448" y="560358"/>
            <a:ext cx="5194300" cy="5686425"/>
            <a:chOff x="9589477" y="0"/>
            <a:chExt cx="5193323" cy="5685692"/>
          </a:xfrm>
        </p:grpSpPr>
        <p:sp>
          <p:nvSpPr>
            <p:cNvPr id="95" name="Retângulo 94"/>
            <p:cNvSpPr/>
            <p:nvPr/>
          </p:nvSpPr>
          <p:spPr>
            <a:xfrm>
              <a:off x="9589477" y="0"/>
              <a:ext cx="5193323" cy="568569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 dirty="0"/>
            </a:p>
          </p:txBody>
        </p:sp>
        <p:grpSp>
          <p:nvGrpSpPr>
            <p:cNvPr id="96" name="Grupo 66"/>
            <p:cNvGrpSpPr>
              <a:grpSpLocks/>
            </p:cNvGrpSpPr>
            <p:nvPr/>
          </p:nvGrpSpPr>
          <p:grpSpPr bwMode="auto">
            <a:xfrm>
              <a:off x="10411851" y="191910"/>
              <a:ext cx="3123495" cy="3341828"/>
              <a:chOff x="8562976" y="1048571"/>
              <a:chExt cx="2225675" cy="2381250"/>
            </a:xfrm>
          </p:grpSpPr>
          <p:sp>
            <p:nvSpPr>
              <p:cNvPr id="98" name="Freeform 75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8562976" y="1048571"/>
                <a:ext cx="2222500" cy="2336800"/>
              </a:xfrm>
              <a:custGeom>
                <a:avLst/>
                <a:gdLst>
                  <a:gd name="T0" fmla="*/ 2147483647 w 142"/>
                  <a:gd name="T1" fmla="*/ 0 h 149"/>
                  <a:gd name="T2" fmla="*/ 0 w 142"/>
                  <a:gd name="T3" fmla="*/ 2147483647 h 149"/>
                  <a:gd name="T4" fmla="*/ 2147483647 w 142"/>
                  <a:gd name="T5" fmla="*/ 2147483647 h 149"/>
                  <a:gd name="T6" fmla="*/ 2147483647 w 142"/>
                  <a:gd name="T7" fmla="*/ 0 h 14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2"/>
                  <a:gd name="T13" fmla="*/ 0 h 149"/>
                  <a:gd name="T14" fmla="*/ 142 w 142"/>
                  <a:gd name="T15" fmla="*/ 149 h 14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2" h="149">
                    <a:moveTo>
                      <a:pt x="142" y="0"/>
                    </a:moveTo>
                    <a:cubicBezTo>
                      <a:pt x="77" y="0"/>
                      <a:pt x="20" y="41"/>
                      <a:pt x="0" y="103"/>
                    </a:cubicBezTo>
                    <a:lnTo>
                      <a:pt x="142" y="149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D4270A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7F1706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99" name="Freeform 76" descr="FOTO 01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8812213" y="1313683"/>
                <a:ext cx="1976438" cy="2116138"/>
              </a:xfrm>
              <a:custGeom>
                <a:avLst/>
                <a:gdLst>
                  <a:gd name="T0" fmla="*/ 2147483647 w 1385"/>
                  <a:gd name="T1" fmla="*/ 2147483647 h 1485"/>
                  <a:gd name="T2" fmla="*/ 2147483647 w 1385"/>
                  <a:gd name="T3" fmla="*/ 2147483647 h 1485"/>
                  <a:gd name="T4" fmla="*/ 2147483647 w 1385"/>
                  <a:gd name="T5" fmla="*/ 2147483647 h 1485"/>
                  <a:gd name="T6" fmla="*/ 2147483647 w 1385"/>
                  <a:gd name="T7" fmla="*/ 2147483647 h 1485"/>
                  <a:gd name="T8" fmla="*/ 2147483647 w 1385"/>
                  <a:gd name="T9" fmla="*/ 2147483647 h 1485"/>
                  <a:gd name="T10" fmla="*/ 2147483647 w 1385"/>
                  <a:gd name="T11" fmla="*/ 2147483647 h 1485"/>
                  <a:gd name="T12" fmla="*/ 2147483647 w 1385"/>
                  <a:gd name="T13" fmla="*/ 2147483647 h 1485"/>
                  <a:gd name="T14" fmla="*/ 2147483647 w 1385"/>
                  <a:gd name="T15" fmla="*/ 2147483647 h 1485"/>
                  <a:gd name="T16" fmla="*/ 0 w 1385"/>
                  <a:gd name="T17" fmla="*/ 2147483647 h 1485"/>
                  <a:gd name="T18" fmla="*/ 2147483647 w 1385"/>
                  <a:gd name="T19" fmla="*/ 2147483647 h 1485"/>
                  <a:gd name="T20" fmla="*/ 2147483647 w 1385"/>
                  <a:gd name="T21" fmla="*/ 2147483647 h 1485"/>
                  <a:gd name="T22" fmla="*/ 2147483647 w 1385"/>
                  <a:gd name="T23" fmla="*/ 2147483647 h 1485"/>
                  <a:gd name="T24" fmla="*/ 2147483647 w 1385"/>
                  <a:gd name="T25" fmla="*/ 2147483647 h 1485"/>
                  <a:gd name="T26" fmla="*/ 2147483647 w 1385"/>
                  <a:gd name="T27" fmla="*/ 2147483647 h 1485"/>
                  <a:gd name="T28" fmla="*/ 2147483647 w 1385"/>
                  <a:gd name="T29" fmla="*/ 2147483647 h 148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385"/>
                  <a:gd name="T46" fmla="*/ 0 h 1485"/>
                  <a:gd name="T47" fmla="*/ 1385 w 1385"/>
                  <a:gd name="T48" fmla="*/ 1485 h 148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385" h="1485">
                    <a:moveTo>
                      <a:pt x="1385" y="1462"/>
                    </a:moveTo>
                    <a:cubicBezTo>
                      <a:pt x="1385" y="1462"/>
                      <a:pt x="1385" y="1111"/>
                      <a:pt x="1385" y="760"/>
                    </a:cubicBezTo>
                    <a:cubicBezTo>
                      <a:pt x="1294" y="844"/>
                      <a:pt x="1199" y="793"/>
                      <a:pt x="1199" y="793"/>
                    </a:cubicBezTo>
                    <a:cubicBezTo>
                      <a:pt x="1199" y="793"/>
                      <a:pt x="1114" y="750"/>
                      <a:pt x="1114" y="655"/>
                    </a:cubicBezTo>
                    <a:cubicBezTo>
                      <a:pt x="1123" y="540"/>
                      <a:pt x="1213" y="510"/>
                      <a:pt x="1213" y="510"/>
                    </a:cubicBezTo>
                    <a:cubicBezTo>
                      <a:pt x="1213" y="510"/>
                      <a:pt x="1306" y="472"/>
                      <a:pt x="1385" y="553"/>
                    </a:cubicBezTo>
                    <a:cubicBezTo>
                      <a:pt x="1385" y="462"/>
                      <a:pt x="1385" y="278"/>
                      <a:pt x="1385" y="4"/>
                    </a:cubicBezTo>
                    <a:cubicBezTo>
                      <a:pt x="850" y="0"/>
                      <a:pt x="484" y="311"/>
                      <a:pt x="484" y="311"/>
                    </a:cubicBezTo>
                    <a:cubicBezTo>
                      <a:pt x="484" y="311"/>
                      <a:pt x="155" y="532"/>
                      <a:pt x="0" y="1013"/>
                    </a:cubicBezTo>
                    <a:cubicBezTo>
                      <a:pt x="0" y="1013"/>
                      <a:pt x="424" y="1150"/>
                      <a:pt x="521" y="1181"/>
                    </a:cubicBezTo>
                    <a:cubicBezTo>
                      <a:pt x="436" y="1227"/>
                      <a:pt x="428" y="1305"/>
                      <a:pt x="434" y="1347"/>
                    </a:cubicBezTo>
                    <a:cubicBezTo>
                      <a:pt x="439" y="1395"/>
                      <a:pt x="479" y="1452"/>
                      <a:pt x="539" y="1471"/>
                    </a:cubicBezTo>
                    <a:cubicBezTo>
                      <a:pt x="605" y="1485"/>
                      <a:pt x="643" y="1477"/>
                      <a:pt x="698" y="1432"/>
                    </a:cubicBezTo>
                    <a:cubicBezTo>
                      <a:pt x="733" y="1393"/>
                      <a:pt x="766" y="1320"/>
                      <a:pt x="718" y="1245"/>
                    </a:cubicBezTo>
                    <a:cubicBezTo>
                      <a:pt x="1051" y="1353"/>
                      <a:pt x="1385" y="1462"/>
                      <a:pt x="1385" y="1462"/>
                    </a:cubicBezTo>
                    <a:close/>
                  </a:path>
                </a:pathLst>
              </a:custGeom>
              <a:blipFill dpi="0" rotWithShape="1">
                <a:blip r:embed="rId60"/>
                <a:srcRect/>
                <a:stretch>
                  <a:fillRect/>
                </a:stretch>
              </a:blipFill>
              <a:ln w="28575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100" name="Oval 86"/>
              <p:cNvSpPr>
                <a:spLocks noChangeArrowheads="1"/>
              </p:cNvSpPr>
              <p:nvPr/>
            </p:nvSpPr>
            <p:spPr bwMode="gray">
              <a:xfrm>
                <a:off x="9443860" y="1584793"/>
                <a:ext cx="253338" cy="222816"/>
              </a:xfrm>
              <a:prstGeom prst="ellipse">
                <a:avLst/>
              </a:prstGeom>
              <a:solidFill>
                <a:srgbClr val="0070C0"/>
              </a:soli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pt-BR" dirty="0">
                  <a:cs typeface="+mn-cs"/>
                </a:endParaRPr>
              </a:p>
            </p:txBody>
          </p:sp>
          <p:sp>
            <p:nvSpPr>
              <p:cNvPr id="101" name="Rectangle 87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 flipH="1">
                <a:off x="9523716" y="1618965"/>
                <a:ext cx="101659" cy="2193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20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sp>
          <p:nvSpPr>
            <p:cNvPr id="97" name="Rectangle 6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9788769" y="3553316"/>
              <a:ext cx="4994031" cy="1969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>
                <a:spcBef>
                  <a:spcPts val="600"/>
                </a:spcBef>
                <a:buClr>
                  <a:schemeClr val="tx2"/>
                </a:buClr>
              </a:pPr>
              <a:r>
                <a:rPr lang="pt-BR" sz="3200" b="1" dirty="0">
                  <a:solidFill>
                    <a:srgbClr val="C00000"/>
                  </a:solidFill>
                  <a:latin typeface="Tahoma" pitchFamily="34" charset="0"/>
                  <a:cs typeface="Tahoma" pitchFamily="34" charset="0"/>
                </a:rPr>
                <a:t>Valorizar</a:t>
              </a:r>
              <a:r>
                <a:rPr lang="pt-BR" sz="3200" b="1" dirty="0">
                  <a:solidFill>
                    <a:srgbClr val="FF660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pt-BR" sz="3200" b="1" dirty="0">
                  <a:latin typeface="Tahoma" pitchFamily="34" charset="0"/>
                  <a:cs typeface="Tahoma" pitchFamily="34" charset="0"/>
                </a:rPr>
                <a:t>e investir no desenvolvimento do </a:t>
              </a:r>
              <a:br>
                <a:rPr lang="pt-BR" sz="3200" b="1" dirty="0">
                  <a:latin typeface="Tahoma" pitchFamily="34" charset="0"/>
                  <a:cs typeface="Tahoma" pitchFamily="34" charset="0"/>
                </a:rPr>
              </a:br>
              <a:r>
                <a:rPr lang="pt-BR" sz="3200" b="1" dirty="0">
                  <a:solidFill>
                    <a:srgbClr val="C00000"/>
                  </a:solidFill>
                  <a:latin typeface="Tahoma" pitchFamily="34" charset="0"/>
                  <a:cs typeface="Tahoma" pitchFamily="34" charset="0"/>
                </a:rPr>
                <a:t>Capital Humano </a:t>
              </a:r>
              <a:r>
                <a:rPr lang="pt-BR" sz="3200" b="1" dirty="0">
                  <a:latin typeface="Tahoma" pitchFamily="34" charset="0"/>
                  <a:cs typeface="Tahoma" pitchFamily="34" charset="0"/>
                </a:rPr>
                <a:t>da Secretaria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0" grpId="0" animBg="1"/>
      <p:bldP spid="91" grpId="0" animBg="1"/>
      <p:bldP spid="92" grpId="0" animBg="1"/>
      <p:bldP spid="9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9"/>
          <p:cNvSpPr>
            <a:spLocks noGrp="1"/>
          </p:cNvSpPr>
          <p:nvPr>
            <p:ph type="title"/>
          </p:nvPr>
        </p:nvSpPr>
        <p:spPr>
          <a:xfrm>
            <a:off x="914400" y="486136"/>
            <a:ext cx="7772400" cy="931501"/>
          </a:xfrm>
        </p:spPr>
        <p:txBody>
          <a:bodyPr/>
          <a:lstStyle/>
          <a:p>
            <a:pPr eaLnBrk="1" hangingPunct="1"/>
            <a:r>
              <a:rPr lang="en-US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contros Presenciai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2766624" y="1357125"/>
            <a:ext cx="5856527" cy="4927928"/>
          </a:xfrm>
        </p:spPr>
        <p:txBody>
          <a:bodyPr rtlCol="0">
            <a:no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Portanto, o objetivo dos Encontros Presenciais é trabalhar dentro das diretrizes do Programa Educação Compromisso </a:t>
            </a:r>
            <a:b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de São Paulo.</a:t>
            </a:r>
          </a:p>
          <a:p>
            <a:pPr marL="0" indent="0"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None/>
              <a:defRPr/>
            </a:pPr>
            <a:endParaRPr lang="en-US" sz="15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eaLnBrk="1" fontAlgn="auto" hangingPunct="1"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/>
            </a:pPr>
            <a: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Serão trabalhados dois pilares do Programa e </a:t>
            </a:r>
            <a:b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suas macroestratégias.</a:t>
            </a:r>
            <a:endParaRPr lang="en-US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8196" name="Picture 1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24375" y="2028475"/>
            <a:ext cx="15240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7" name="Picture 1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68850" y="4805013"/>
            <a:ext cx="1158875" cy="115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Rectangle 24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914143" y="2528662"/>
            <a:ext cx="7776123" cy="1661429"/>
          </a:xfrm>
        </p:spPr>
        <p:txBody>
          <a:bodyPr/>
          <a:lstStyle/>
          <a:p>
            <a:pPr eaLnBrk="1" hangingPunct="1">
              <a:spcBef>
                <a:spcPts val="600"/>
              </a:spcBef>
            </a:pPr>
            <a: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ois Pilares a serem trabalhados nos Encontros Presenciais:</a:t>
            </a:r>
          </a:p>
        </p:txBody>
      </p:sp>
      <p:graphicFrame>
        <p:nvGraphicFramePr>
          <p:cNvPr id="2050" name="AutoShape 5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056" name="think-cell Slide" r:id="rId6" imgW="0" imgH="0" progId="">
              <p:embed/>
            </p:oleObj>
          </a:graphicData>
        </a:graphic>
      </p:graphicFrame>
      <p:sp>
        <p:nvSpPr>
          <p:cNvPr id="2052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dirty="0">
                <a:latin typeface="Calibri" pitchFamily="34" charset="0"/>
              </a:rPr>
              <a:t>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>
              <a:defRPr/>
            </a:pPr>
            <a:fld id="{46933995-6E97-4145-9FC9-FD99D5C53950}" type="slidenum">
              <a:rPr lang="pt-BR"/>
              <a:pPr algn="l">
                <a:defRPr/>
              </a:pPr>
              <a:t>8</a:t>
            </a:fld>
            <a:r>
              <a:rPr lang="pt-BR" dirty="0"/>
              <a:t> </a:t>
            </a:r>
          </a:p>
        </p:txBody>
      </p:sp>
      <p:sp>
        <p:nvSpPr>
          <p:cNvPr id="2052" name="Rectangle 3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dirty="0">
                <a:latin typeface="Calibri" pitchFamily="34" charset="0"/>
              </a:rPr>
              <a:t>s</a:t>
            </a:r>
          </a:p>
        </p:txBody>
      </p:sp>
      <p:sp>
        <p:nvSpPr>
          <p:cNvPr id="64" name="Rectangle 6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1031189" y="637226"/>
            <a:ext cx="2641926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Valorizar </a:t>
            </a:r>
            <a:r>
              <a:rPr lang="pt-BR" sz="2000" b="1" dirty="0" smtClean="0">
                <a:latin typeface="Tahoma" pitchFamily="34" charset="0"/>
                <a:cs typeface="Tahoma" pitchFamily="34" charset="0"/>
              </a:rPr>
              <a:t>e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investir </a:t>
            </a:r>
            <a:r>
              <a:rPr lang="pt-BR" sz="2000" b="1" dirty="0" smtClean="0">
                <a:latin typeface="Tahoma" pitchFamily="34" charset="0"/>
                <a:cs typeface="Tahoma" pitchFamily="34" charset="0"/>
              </a:rPr>
              <a:t>no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desenvolvimento </a:t>
            </a:r>
            <a:br>
              <a:rPr lang="pt-BR" sz="2000" b="1" dirty="0">
                <a:latin typeface="Tahoma" pitchFamily="34" charset="0"/>
                <a:cs typeface="Tahoma" pitchFamily="34" charset="0"/>
              </a:rPr>
            </a:br>
            <a:r>
              <a:rPr lang="pt-BR" sz="2000" b="1" dirty="0">
                <a:latin typeface="Tahoma" pitchFamily="34" charset="0"/>
                <a:cs typeface="Tahoma" pitchFamily="34" charset="0"/>
              </a:rPr>
              <a:t>do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Capital Humano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da </a:t>
            </a:r>
            <a:r>
              <a:rPr lang="pt-BR" sz="2000" b="1" dirty="0" smtClean="0">
                <a:latin typeface="Tahoma" pitchFamily="34" charset="0"/>
                <a:cs typeface="Tahoma" pitchFamily="34" charset="0"/>
              </a:rPr>
              <a:t>Secretaria</a:t>
            </a:r>
            <a:endParaRPr lang="pt-BR" sz="2000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5" name="Rectangle 6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5966163" y="698709"/>
            <a:ext cx="2583644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latin typeface="Tahoma" pitchFamily="34" charset="0"/>
                <a:cs typeface="Tahoma" pitchFamily="34" charset="0"/>
              </a:rPr>
              <a:t>Aprimorar as ações e a </a:t>
            </a:r>
            <a:r>
              <a:rPr lang="pt-BR" sz="20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gestão pedagógica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da Rede com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foco </a:t>
            </a:r>
            <a:r>
              <a:rPr lang="pt-BR" sz="2000" b="1" dirty="0" smtClean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no resultado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dos alunos</a:t>
            </a:r>
          </a:p>
        </p:txBody>
      </p:sp>
      <p:sp>
        <p:nvSpPr>
          <p:cNvPr id="66" name="Rectangle 6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938148" y="3512333"/>
            <a:ext cx="2397785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Mobilizar, Engajar e Responsabilizar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a Rede, os Alunos e a Sociedade em torno </a:t>
            </a:r>
            <a:r>
              <a:rPr lang="pt-BR" sz="2000" b="1" dirty="0" smtClean="0">
                <a:latin typeface="Tahoma" pitchFamily="34" charset="0"/>
                <a:cs typeface="Tahoma" pitchFamily="34" charset="0"/>
              </a:rPr>
              <a:t>do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processo </a:t>
            </a:r>
            <a:br>
              <a:rPr lang="pt-BR" sz="2000" b="1" dirty="0">
                <a:latin typeface="Tahoma" pitchFamily="34" charset="0"/>
                <a:cs typeface="Tahoma" pitchFamily="34" charset="0"/>
              </a:rPr>
            </a:br>
            <a:r>
              <a:rPr lang="pt-BR" sz="2000" b="1" dirty="0">
                <a:latin typeface="Tahoma" pitchFamily="34" charset="0"/>
                <a:cs typeface="Tahoma" pitchFamily="34" charset="0"/>
              </a:rPr>
              <a:t>de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ensino-aprendizagem </a:t>
            </a:r>
          </a:p>
        </p:txBody>
      </p:sp>
      <p:sp>
        <p:nvSpPr>
          <p:cNvPr id="67" name="Rectangle 6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5952821" y="3798610"/>
            <a:ext cx="2597150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latin typeface="Tahoma" pitchFamily="34" charset="0"/>
                <a:cs typeface="Tahoma" pitchFamily="34" charset="0"/>
              </a:rPr>
              <a:t>Lançar as bases de um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novo modelo de escola e um regime na carreira do Magistério mais atrativo </a:t>
            </a:r>
          </a:p>
        </p:txBody>
      </p:sp>
      <p:sp>
        <p:nvSpPr>
          <p:cNvPr id="68" name="Rectangle 6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3079578" y="5101289"/>
            <a:ext cx="353182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/>
          <a:p>
            <a:pPr algn="ctr" defTabSz="895350">
              <a:spcBef>
                <a:spcPts val="600"/>
              </a:spcBef>
              <a:buClr>
                <a:schemeClr val="tx2"/>
              </a:buClr>
            </a:pPr>
            <a:r>
              <a:rPr lang="pt-BR" sz="2000" b="1" dirty="0">
                <a:latin typeface="Tahoma" pitchFamily="34" charset="0"/>
                <a:cs typeface="Tahoma" pitchFamily="34" charset="0"/>
              </a:rPr>
              <a:t>Viabilizar </a:t>
            </a:r>
            <a:r>
              <a:rPr lang="pt-BR" sz="2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mecanismos organizacionais e financeiros </a:t>
            </a:r>
            <a:r>
              <a:rPr lang="pt-BR" sz="2000" b="1" dirty="0">
                <a:latin typeface="Tahoma" pitchFamily="34" charset="0"/>
                <a:cs typeface="Tahoma" pitchFamily="34" charset="0"/>
              </a:rPr>
              <a:t>para operacionalizar o Programa</a:t>
            </a:r>
          </a:p>
        </p:txBody>
      </p:sp>
      <p:grpSp>
        <p:nvGrpSpPr>
          <p:cNvPr id="69" name="Group 69"/>
          <p:cNvGrpSpPr>
            <a:grpSpLocks/>
          </p:cNvGrpSpPr>
          <p:nvPr/>
        </p:nvGrpSpPr>
        <p:grpSpPr bwMode="auto">
          <a:xfrm>
            <a:off x="3008329" y="1227083"/>
            <a:ext cx="3210958" cy="3202825"/>
            <a:chOff x="1306" y="582"/>
            <a:chExt cx="2956" cy="2950"/>
          </a:xfrm>
        </p:grpSpPr>
        <p:grpSp>
          <p:nvGrpSpPr>
            <p:cNvPr id="70" name="Group 70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306" y="582"/>
              <a:ext cx="2956" cy="2950"/>
              <a:chOff x="1442" y="718"/>
              <a:chExt cx="2956" cy="2950"/>
            </a:xfrm>
          </p:grpSpPr>
          <p:sp>
            <p:nvSpPr>
              <p:cNvPr id="112" name="Freeform 71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921" y="718"/>
                <a:ext cx="1398" cy="1481"/>
              </a:xfrm>
              <a:custGeom>
                <a:avLst/>
                <a:gdLst>
                  <a:gd name="T0" fmla="*/ 1272939335 w 142"/>
                  <a:gd name="T1" fmla="*/ 942095390 h 150"/>
                  <a:gd name="T2" fmla="*/ 0 w 142"/>
                  <a:gd name="T3" fmla="*/ 9284052 h 150"/>
                  <a:gd name="T4" fmla="*/ 0 w 142"/>
                  <a:gd name="T5" fmla="*/ 9284052 h 150"/>
                  <a:gd name="T6" fmla="*/ 0 w 142"/>
                  <a:gd name="T7" fmla="*/ 1371910009 h 150"/>
                  <a:gd name="T8" fmla="*/ 1272939335 w 142"/>
                  <a:gd name="T9" fmla="*/ 942095390 h 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2"/>
                  <a:gd name="T16" fmla="*/ 0 h 150"/>
                  <a:gd name="T17" fmla="*/ 142 w 142"/>
                  <a:gd name="T18" fmla="*/ 150 h 15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2" h="150">
                    <a:moveTo>
                      <a:pt x="142" y="103"/>
                    </a:moveTo>
                    <a:cubicBezTo>
                      <a:pt x="122" y="42"/>
                      <a:pt x="65" y="1"/>
                      <a:pt x="0" y="1"/>
                    </a:cubicBezTo>
                    <a:cubicBezTo>
                      <a:pt x="0" y="0"/>
                      <a:pt x="0" y="1"/>
                      <a:pt x="0" y="1"/>
                    </a:cubicBezTo>
                    <a:lnTo>
                      <a:pt x="0" y="150"/>
                    </a:lnTo>
                    <a:lnTo>
                      <a:pt x="142" y="103"/>
                    </a:lnTo>
                    <a:close/>
                  </a:path>
                </a:pathLst>
              </a:custGeom>
              <a:solidFill>
                <a:srgbClr val="FF9900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995C00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113" name="Freeform 72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921" y="1735"/>
                <a:ext cx="1477" cy="1657"/>
              </a:xfrm>
              <a:custGeom>
                <a:avLst/>
                <a:gdLst>
                  <a:gd name="T0" fmla="*/ 790226345 w 150"/>
                  <a:gd name="T1" fmla="*/ 1525453845 h 168"/>
                  <a:gd name="T2" fmla="*/ 1346262817 w 150"/>
                  <a:gd name="T3" fmla="*/ 427126629 h 168"/>
                  <a:gd name="T4" fmla="*/ 1274244799 w 150"/>
                  <a:gd name="T5" fmla="*/ 0 h 168"/>
                  <a:gd name="T6" fmla="*/ 0 w 150"/>
                  <a:gd name="T7" fmla="*/ 427126629 h 168"/>
                  <a:gd name="T8" fmla="*/ 790226345 w 150"/>
                  <a:gd name="T9" fmla="*/ 1525453845 h 1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0"/>
                  <a:gd name="T16" fmla="*/ 0 h 168"/>
                  <a:gd name="T17" fmla="*/ 150 w 150"/>
                  <a:gd name="T18" fmla="*/ 168 h 1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0" h="168">
                    <a:moveTo>
                      <a:pt x="88" y="168"/>
                    </a:moveTo>
                    <a:cubicBezTo>
                      <a:pt x="127" y="140"/>
                      <a:pt x="150" y="95"/>
                      <a:pt x="150" y="47"/>
                    </a:cubicBezTo>
                    <a:cubicBezTo>
                      <a:pt x="150" y="31"/>
                      <a:pt x="147" y="15"/>
                      <a:pt x="142" y="0"/>
                    </a:cubicBezTo>
                    <a:lnTo>
                      <a:pt x="0" y="47"/>
                    </a:lnTo>
                    <a:lnTo>
                      <a:pt x="88" y="168"/>
                    </a:lnTo>
                    <a:close/>
                  </a:path>
                </a:pathLst>
              </a:custGeom>
              <a:solidFill>
                <a:srgbClr val="FFCC66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997A3D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114" name="Freeform 73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054" y="2199"/>
                <a:ext cx="1732" cy="1469"/>
              </a:xfrm>
              <a:custGeom>
                <a:avLst/>
                <a:gdLst>
                  <a:gd name="T0" fmla="*/ 0 w 176"/>
                  <a:gd name="T1" fmla="*/ 1086392609 h 149"/>
                  <a:gd name="T2" fmla="*/ 786531473 w 176"/>
                  <a:gd name="T3" fmla="*/ 1349075414 h 149"/>
                  <a:gd name="T4" fmla="*/ 1573062947 w 176"/>
                  <a:gd name="T5" fmla="*/ 1095613745 h 149"/>
                  <a:gd name="T6" fmla="*/ 786531473 w 176"/>
                  <a:gd name="T7" fmla="*/ 0 h 149"/>
                  <a:gd name="T8" fmla="*/ 0 w 176"/>
                  <a:gd name="T9" fmla="*/ 1086392609 h 1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149"/>
                  <a:gd name="T17" fmla="*/ 176 w 176"/>
                  <a:gd name="T18" fmla="*/ 149 h 1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149">
                    <a:moveTo>
                      <a:pt x="0" y="120"/>
                    </a:moveTo>
                    <a:cubicBezTo>
                      <a:pt x="25" y="139"/>
                      <a:pt x="56" y="149"/>
                      <a:pt x="88" y="149"/>
                    </a:cubicBezTo>
                    <a:cubicBezTo>
                      <a:pt x="120" y="149"/>
                      <a:pt x="150" y="140"/>
                      <a:pt x="176" y="121"/>
                    </a:cubicBezTo>
                    <a:lnTo>
                      <a:pt x="88" y="0"/>
                    </a:lnTo>
                    <a:lnTo>
                      <a:pt x="0" y="120"/>
                    </a:lnTo>
                    <a:close/>
                  </a:path>
                </a:pathLst>
              </a:custGeom>
              <a:solidFill>
                <a:srgbClr val="F7ED65"/>
              </a:solidFill>
              <a:ln w="19050">
                <a:noFill/>
                <a:round/>
                <a:headEnd/>
                <a:tailEnd/>
              </a:ln>
              <a:effectLst>
                <a:prstShdw prst="shdw17" dist="17961" dir="2700000">
                  <a:srgbClr val="948E3D"/>
                </a:prstShdw>
              </a:effectLst>
            </p:spPr>
            <p:txBody>
              <a:bodyPr wrap="none" anchor="ctr"/>
              <a:lstStyle/>
              <a:p>
                <a:endParaRPr lang="pt-BR" dirty="0"/>
              </a:p>
            </p:txBody>
          </p:sp>
          <p:sp>
            <p:nvSpPr>
              <p:cNvPr id="115" name="Freeform 74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442" y="1744"/>
                <a:ext cx="1479" cy="1638"/>
              </a:xfrm>
              <a:custGeom>
                <a:avLst/>
                <a:gdLst>
                  <a:gd name="T0" fmla="*/ 72598421 w 150"/>
                  <a:gd name="T1" fmla="*/ 0 h 166"/>
                  <a:gd name="T2" fmla="*/ 9224482 w 150"/>
                  <a:gd name="T3" fmla="*/ 419086764 h 166"/>
                  <a:gd name="T4" fmla="*/ 561398986 w 150"/>
                  <a:gd name="T5" fmla="*/ 1511997064 h 166"/>
                  <a:gd name="T6" fmla="*/ 1359033064 w 150"/>
                  <a:gd name="T7" fmla="*/ 419086764 h 166"/>
                  <a:gd name="T8" fmla="*/ 72598421 w 150"/>
                  <a:gd name="T9" fmla="*/ 0 h 1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0"/>
                  <a:gd name="T16" fmla="*/ 0 h 166"/>
                  <a:gd name="T17" fmla="*/ 150 w 150"/>
                  <a:gd name="T18" fmla="*/ 166 h 1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0" h="166">
                    <a:moveTo>
                      <a:pt x="8" y="0"/>
                    </a:moveTo>
                    <a:cubicBezTo>
                      <a:pt x="3" y="15"/>
                      <a:pt x="1" y="30"/>
                      <a:pt x="1" y="46"/>
                    </a:cubicBezTo>
                    <a:cubicBezTo>
                      <a:pt x="0" y="94"/>
                      <a:pt x="23" y="138"/>
                      <a:pt x="62" y="166"/>
                    </a:cubicBezTo>
                    <a:lnTo>
                      <a:pt x="150" y="46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33CCCC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1F7A7A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  <p:sp>
            <p:nvSpPr>
              <p:cNvPr id="116" name="Freeform 75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521" y="727"/>
                <a:ext cx="1400" cy="1472"/>
              </a:xfrm>
              <a:custGeom>
                <a:avLst/>
                <a:gdLst>
                  <a:gd name="T0" fmla="*/ 1285795098 w 142"/>
                  <a:gd name="T1" fmla="*/ 0 h 149"/>
                  <a:gd name="T2" fmla="*/ 0 w 142"/>
                  <a:gd name="T3" fmla="*/ 946401483 h 149"/>
                  <a:gd name="T4" fmla="*/ 1285795098 w 142"/>
                  <a:gd name="T5" fmla="*/ 1368455363 h 149"/>
                  <a:gd name="T6" fmla="*/ 1285795098 w 142"/>
                  <a:gd name="T7" fmla="*/ 0 h 14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2"/>
                  <a:gd name="T13" fmla="*/ 0 h 149"/>
                  <a:gd name="T14" fmla="*/ 142 w 142"/>
                  <a:gd name="T15" fmla="*/ 149 h 14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2" h="149">
                    <a:moveTo>
                      <a:pt x="142" y="0"/>
                    </a:moveTo>
                    <a:cubicBezTo>
                      <a:pt x="77" y="0"/>
                      <a:pt x="20" y="41"/>
                      <a:pt x="0" y="103"/>
                    </a:cubicBezTo>
                    <a:lnTo>
                      <a:pt x="142" y="149"/>
                    </a:lnTo>
                    <a:lnTo>
                      <a:pt x="142" y="0"/>
                    </a:lnTo>
                    <a:close/>
                  </a:path>
                </a:pathLst>
              </a:custGeom>
              <a:solidFill>
                <a:srgbClr val="D4270A"/>
              </a:solidFill>
              <a:ln w="9525">
                <a:noFill/>
                <a:round/>
                <a:headEnd/>
                <a:tailEnd/>
              </a:ln>
              <a:effectLst>
                <a:prstShdw prst="shdw17" dist="17961" dir="2700000">
                  <a:srgbClr val="7F1706"/>
                </a:prstShdw>
              </a:effectLst>
            </p:spPr>
            <p:txBody>
              <a:bodyPr/>
              <a:lstStyle/>
              <a:p>
                <a:endParaRPr lang="pt-BR" dirty="0"/>
              </a:p>
            </p:txBody>
          </p:sp>
        </p:grpSp>
        <p:sp>
          <p:nvSpPr>
            <p:cNvPr id="71" name="Freeform 76" descr="FOTO 01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542" y="758"/>
              <a:ext cx="1245" cy="1333"/>
            </a:xfrm>
            <a:custGeom>
              <a:avLst/>
              <a:gdLst>
                <a:gd name="T0" fmla="*/ 657 w 1385"/>
                <a:gd name="T1" fmla="*/ 687 h 1485"/>
                <a:gd name="T2" fmla="*/ 657 w 1385"/>
                <a:gd name="T3" fmla="*/ 357 h 1485"/>
                <a:gd name="T4" fmla="*/ 569 w 1385"/>
                <a:gd name="T5" fmla="*/ 373 h 1485"/>
                <a:gd name="T6" fmla="*/ 529 w 1385"/>
                <a:gd name="T7" fmla="*/ 307 h 1485"/>
                <a:gd name="T8" fmla="*/ 575 w 1385"/>
                <a:gd name="T9" fmla="*/ 240 h 1485"/>
                <a:gd name="T10" fmla="*/ 657 w 1385"/>
                <a:gd name="T11" fmla="*/ 259 h 1485"/>
                <a:gd name="T12" fmla="*/ 657 w 1385"/>
                <a:gd name="T13" fmla="*/ 4 h 1485"/>
                <a:gd name="T14" fmla="*/ 229 w 1385"/>
                <a:gd name="T15" fmla="*/ 145 h 1485"/>
                <a:gd name="T16" fmla="*/ 0 w 1385"/>
                <a:gd name="T17" fmla="*/ 476 h 1485"/>
                <a:gd name="T18" fmla="*/ 247 w 1385"/>
                <a:gd name="T19" fmla="*/ 555 h 1485"/>
                <a:gd name="T20" fmla="*/ 206 w 1385"/>
                <a:gd name="T21" fmla="*/ 633 h 1485"/>
                <a:gd name="T22" fmla="*/ 255 w 1385"/>
                <a:gd name="T23" fmla="*/ 690 h 1485"/>
                <a:gd name="T24" fmla="*/ 332 w 1385"/>
                <a:gd name="T25" fmla="*/ 672 h 1485"/>
                <a:gd name="T26" fmla="*/ 340 w 1385"/>
                <a:gd name="T27" fmla="*/ 585 h 1485"/>
                <a:gd name="T28" fmla="*/ 657 w 1385"/>
                <a:gd name="T29" fmla="*/ 687 h 148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85"/>
                <a:gd name="T46" fmla="*/ 0 h 1485"/>
                <a:gd name="T47" fmla="*/ 1385 w 1385"/>
                <a:gd name="T48" fmla="*/ 1485 h 148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85" h="1485">
                  <a:moveTo>
                    <a:pt x="1385" y="1462"/>
                  </a:moveTo>
                  <a:cubicBezTo>
                    <a:pt x="1385" y="1462"/>
                    <a:pt x="1385" y="1111"/>
                    <a:pt x="1385" y="760"/>
                  </a:cubicBezTo>
                  <a:cubicBezTo>
                    <a:pt x="1294" y="844"/>
                    <a:pt x="1199" y="793"/>
                    <a:pt x="1199" y="793"/>
                  </a:cubicBezTo>
                  <a:cubicBezTo>
                    <a:pt x="1199" y="793"/>
                    <a:pt x="1114" y="750"/>
                    <a:pt x="1114" y="655"/>
                  </a:cubicBezTo>
                  <a:cubicBezTo>
                    <a:pt x="1123" y="540"/>
                    <a:pt x="1213" y="510"/>
                    <a:pt x="1213" y="510"/>
                  </a:cubicBezTo>
                  <a:cubicBezTo>
                    <a:pt x="1213" y="510"/>
                    <a:pt x="1306" y="472"/>
                    <a:pt x="1385" y="553"/>
                  </a:cubicBezTo>
                  <a:cubicBezTo>
                    <a:pt x="1385" y="462"/>
                    <a:pt x="1385" y="278"/>
                    <a:pt x="1385" y="4"/>
                  </a:cubicBezTo>
                  <a:cubicBezTo>
                    <a:pt x="850" y="0"/>
                    <a:pt x="484" y="311"/>
                    <a:pt x="484" y="311"/>
                  </a:cubicBezTo>
                  <a:cubicBezTo>
                    <a:pt x="484" y="311"/>
                    <a:pt x="155" y="532"/>
                    <a:pt x="0" y="1013"/>
                  </a:cubicBezTo>
                  <a:cubicBezTo>
                    <a:pt x="0" y="1013"/>
                    <a:pt x="424" y="1150"/>
                    <a:pt x="521" y="1181"/>
                  </a:cubicBezTo>
                  <a:cubicBezTo>
                    <a:pt x="436" y="1227"/>
                    <a:pt x="428" y="1305"/>
                    <a:pt x="434" y="1347"/>
                  </a:cubicBezTo>
                  <a:cubicBezTo>
                    <a:pt x="439" y="1395"/>
                    <a:pt x="479" y="1452"/>
                    <a:pt x="539" y="1471"/>
                  </a:cubicBezTo>
                  <a:cubicBezTo>
                    <a:pt x="605" y="1485"/>
                    <a:pt x="643" y="1477"/>
                    <a:pt x="698" y="1432"/>
                  </a:cubicBezTo>
                  <a:cubicBezTo>
                    <a:pt x="733" y="1393"/>
                    <a:pt x="766" y="1320"/>
                    <a:pt x="718" y="1245"/>
                  </a:cubicBezTo>
                  <a:cubicBezTo>
                    <a:pt x="1051" y="1353"/>
                    <a:pt x="1385" y="1462"/>
                    <a:pt x="1385" y="1462"/>
                  </a:cubicBezTo>
                  <a:close/>
                </a:path>
              </a:pathLst>
            </a:custGeom>
            <a:blipFill dpi="0" rotWithShape="1">
              <a:blip r:embed="rId38"/>
              <a:srcRect/>
              <a:stretch>
                <a:fillRect/>
              </a:stretch>
            </a:blip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pt-BR" dirty="0"/>
            </a:p>
          </p:txBody>
        </p:sp>
        <p:sp>
          <p:nvSpPr>
            <p:cNvPr id="72" name="Freeform 77" descr="FOTO 05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89" y="1664"/>
              <a:ext cx="1399" cy="1463"/>
            </a:xfrm>
            <a:custGeom>
              <a:avLst/>
              <a:gdLst>
                <a:gd name="T0" fmla="*/ 739 w 1556"/>
                <a:gd name="T1" fmla="*/ 213 h 1629"/>
                <a:gd name="T2" fmla="*/ 422 w 1556"/>
                <a:gd name="T3" fmla="*/ 110 h 1629"/>
                <a:gd name="T4" fmla="*/ 415 w 1556"/>
                <a:gd name="T5" fmla="*/ 195 h 1629"/>
                <a:gd name="T6" fmla="*/ 334 w 1556"/>
                <a:gd name="T7" fmla="*/ 216 h 1629"/>
                <a:gd name="T8" fmla="*/ 285 w 1556"/>
                <a:gd name="T9" fmla="*/ 149 h 1629"/>
                <a:gd name="T10" fmla="*/ 328 w 1556"/>
                <a:gd name="T11" fmla="*/ 80 h 1629"/>
                <a:gd name="T12" fmla="*/ 81 w 1556"/>
                <a:gd name="T13" fmla="*/ 0 h 1629"/>
                <a:gd name="T14" fmla="*/ 87 w 1556"/>
                <a:gd name="T15" fmla="*/ 449 h 1629"/>
                <a:gd name="T16" fmla="*/ 333 w 1556"/>
                <a:gd name="T17" fmla="*/ 768 h 1629"/>
                <a:gd name="T18" fmla="*/ 486 w 1556"/>
                <a:gd name="T19" fmla="*/ 558 h 1629"/>
                <a:gd name="T20" fmla="*/ 548 w 1556"/>
                <a:gd name="T21" fmla="*/ 621 h 1629"/>
                <a:gd name="T22" fmla="*/ 619 w 1556"/>
                <a:gd name="T23" fmla="*/ 594 h 1629"/>
                <a:gd name="T24" fmla="*/ 625 w 1556"/>
                <a:gd name="T25" fmla="*/ 516 h 1629"/>
                <a:gd name="T26" fmla="*/ 544 w 1556"/>
                <a:gd name="T27" fmla="*/ 480 h 1629"/>
                <a:gd name="T28" fmla="*/ 739 w 1556"/>
                <a:gd name="T29" fmla="*/ 213 h 16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56"/>
                <a:gd name="T46" fmla="*/ 0 h 1629"/>
                <a:gd name="T47" fmla="*/ 1556 w 1556"/>
                <a:gd name="T48" fmla="*/ 1629 h 16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56" h="1629">
                  <a:moveTo>
                    <a:pt x="1556" y="451"/>
                  </a:moveTo>
                  <a:cubicBezTo>
                    <a:pt x="1556" y="451"/>
                    <a:pt x="1047" y="286"/>
                    <a:pt x="889" y="234"/>
                  </a:cubicBezTo>
                  <a:cubicBezTo>
                    <a:pt x="933" y="311"/>
                    <a:pt x="904" y="378"/>
                    <a:pt x="874" y="415"/>
                  </a:cubicBezTo>
                  <a:cubicBezTo>
                    <a:pt x="844" y="452"/>
                    <a:pt x="772" y="484"/>
                    <a:pt x="705" y="459"/>
                  </a:cubicBezTo>
                  <a:cubicBezTo>
                    <a:pt x="618" y="419"/>
                    <a:pt x="603" y="364"/>
                    <a:pt x="601" y="316"/>
                  </a:cubicBezTo>
                  <a:cubicBezTo>
                    <a:pt x="599" y="268"/>
                    <a:pt x="627" y="208"/>
                    <a:pt x="692" y="170"/>
                  </a:cubicBezTo>
                  <a:cubicBezTo>
                    <a:pt x="605" y="142"/>
                    <a:pt x="430" y="85"/>
                    <a:pt x="170" y="0"/>
                  </a:cubicBezTo>
                  <a:cubicBezTo>
                    <a:pt x="0" y="508"/>
                    <a:pt x="183" y="952"/>
                    <a:pt x="183" y="952"/>
                  </a:cubicBezTo>
                  <a:cubicBezTo>
                    <a:pt x="183" y="952"/>
                    <a:pt x="292" y="1333"/>
                    <a:pt x="701" y="1629"/>
                  </a:cubicBezTo>
                  <a:cubicBezTo>
                    <a:pt x="701" y="1629"/>
                    <a:pt x="962" y="1268"/>
                    <a:pt x="1022" y="1185"/>
                  </a:cubicBezTo>
                  <a:cubicBezTo>
                    <a:pt x="1039" y="1280"/>
                    <a:pt x="1111" y="1312"/>
                    <a:pt x="1153" y="1319"/>
                  </a:cubicBezTo>
                  <a:cubicBezTo>
                    <a:pt x="1200" y="1330"/>
                    <a:pt x="1267" y="1309"/>
                    <a:pt x="1303" y="1258"/>
                  </a:cubicBezTo>
                  <a:cubicBezTo>
                    <a:pt x="1337" y="1199"/>
                    <a:pt x="1341" y="1161"/>
                    <a:pt x="1315" y="1095"/>
                  </a:cubicBezTo>
                  <a:cubicBezTo>
                    <a:pt x="1289" y="1049"/>
                    <a:pt x="1230" y="995"/>
                    <a:pt x="1144" y="1018"/>
                  </a:cubicBezTo>
                  <a:cubicBezTo>
                    <a:pt x="1349" y="735"/>
                    <a:pt x="1556" y="451"/>
                    <a:pt x="1556" y="451"/>
                  </a:cubicBezTo>
                  <a:close/>
                </a:path>
              </a:pathLst>
            </a:custGeom>
            <a:blipFill dpi="0" rotWithShape="1">
              <a:blip r:embed="rId39"/>
              <a:srcRect/>
              <a:stretch>
                <a:fillRect/>
              </a:stretch>
            </a:blip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 dirty="0"/>
            </a:p>
          </p:txBody>
        </p:sp>
        <p:sp>
          <p:nvSpPr>
            <p:cNvPr id="73" name="Freeform 78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017" y="2067"/>
              <a:ext cx="1540" cy="1345"/>
            </a:xfrm>
            <a:custGeom>
              <a:avLst/>
              <a:gdLst>
                <a:gd name="T0" fmla="*/ 406 w 1713"/>
                <a:gd name="T1" fmla="*/ 0 h 1498"/>
                <a:gd name="T2" fmla="*/ 211 w 1713"/>
                <a:gd name="T3" fmla="*/ 266 h 1498"/>
                <a:gd name="T4" fmla="*/ 290 w 1713"/>
                <a:gd name="T5" fmla="*/ 301 h 1498"/>
                <a:gd name="T6" fmla="*/ 284 w 1713"/>
                <a:gd name="T7" fmla="*/ 382 h 1498"/>
                <a:gd name="T8" fmla="*/ 205 w 1713"/>
                <a:gd name="T9" fmla="*/ 408 h 1498"/>
                <a:gd name="T10" fmla="*/ 153 w 1713"/>
                <a:gd name="T11" fmla="*/ 346 h 1498"/>
                <a:gd name="T12" fmla="*/ 0 w 1713"/>
                <a:gd name="T13" fmla="*/ 556 h 1498"/>
                <a:gd name="T14" fmla="*/ 431 w 1713"/>
                <a:gd name="T15" fmla="*/ 688 h 1498"/>
                <a:gd name="T16" fmla="*/ 813 w 1713"/>
                <a:gd name="T17" fmla="*/ 554 h 1498"/>
                <a:gd name="T18" fmla="*/ 660 w 1713"/>
                <a:gd name="T19" fmla="*/ 346 h 1498"/>
                <a:gd name="T20" fmla="*/ 740 w 1713"/>
                <a:gd name="T21" fmla="*/ 306 h 1498"/>
                <a:gd name="T22" fmla="*/ 734 w 1713"/>
                <a:gd name="T23" fmla="*/ 231 h 1498"/>
                <a:gd name="T24" fmla="*/ 662 w 1713"/>
                <a:gd name="T25" fmla="*/ 201 h 1498"/>
                <a:gd name="T26" fmla="*/ 602 w 1713"/>
                <a:gd name="T27" fmla="*/ 266 h 1498"/>
                <a:gd name="T28" fmla="*/ 406 w 1713"/>
                <a:gd name="T29" fmla="*/ 0 h 14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13"/>
                <a:gd name="T46" fmla="*/ 0 h 1498"/>
                <a:gd name="T47" fmla="*/ 1713 w 1713"/>
                <a:gd name="T48" fmla="*/ 1498 h 149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13" h="1498">
                  <a:moveTo>
                    <a:pt x="857" y="0"/>
                  </a:moveTo>
                  <a:cubicBezTo>
                    <a:pt x="857" y="0"/>
                    <a:pt x="498" y="472"/>
                    <a:pt x="444" y="567"/>
                  </a:cubicBezTo>
                  <a:cubicBezTo>
                    <a:pt x="532" y="548"/>
                    <a:pt x="586" y="597"/>
                    <a:pt x="612" y="638"/>
                  </a:cubicBezTo>
                  <a:cubicBezTo>
                    <a:pt x="638" y="679"/>
                    <a:pt x="646" y="756"/>
                    <a:pt x="601" y="812"/>
                  </a:cubicBezTo>
                  <a:cubicBezTo>
                    <a:pt x="536" y="882"/>
                    <a:pt x="479" y="880"/>
                    <a:pt x="433" y="867"/>
                  </a:cubicBezTo>
                  <a:cubicBezTo>
                    <a:pt x="387" y="854"/>
                    <a:pt x="339" y="809"/>
                    <a:pt x="322" y="735"/>
                  </a:cubicBezTo>
                  <a:cubicBezTo>
                    <a:pt x="269" y="809"/>
                    <a:pt x="161" y="958"/>
                    <a:pt x="0" y="1179"/>
                  </a:cubicBezTo>
                  <a:cubicBezTo>
                    <a:pt x="430" y="1498"/>
                    <a:pt x="909" y="1461"/>
                    <a:pt x="909" y="1461"/>
                  </a:cubicBezTo>
                  <a:cubicBezTo>
                    <a:pt x="909" y="1461"/>
                    <a:pt x="1305" y="1475"/>
                    <a:pt x="1713" y="1177"/>
                  </a:cubicBezTo>
                  <a:cubicBezTo>
                    <a:pt x="1713" y="1177"/>
                    <a:pt x="1450" y="817"/>
                    <a:pt x="1390" y="735"/>
                  </a:cubicBezTo>
                  <a:cubicBezTo>
                    <a:pt x="1485" y="748"/>
                    <a:pt x="1538" y="689"/>
                    <a:pt x="1558" y="652"/>
                  </a:cubicBezTo>
                  <a:cubicBezTo>
                    <a:pt x="1583" y="610"/>
                    <a:pt x="1583" y="540"/>
                    <a:pt x="1546" y="490"/>
                  </a:cubicBezTo>
                  <a:cubicBezTo>
                    <a:pt x="1500" y="440"/>
                    <a:pt x="1466" y="424"/>
                    <a:pt x="1395" y="428"/>
                  </a:cubicBezTo>
                  <a:cubicBezTo>
                    <a:pt x="1343" y="439"/>
                    <a:pt x="1273" y="478"/>
                    <a:pt x="1269" y="567"/>
                  </a:cubicBezTo>
                  <a:cubicBezTo>
                    <a:pt x="1063" y="285"/>
                    <a:pt x="857" y="0"/>
                    <a:pt x="857" y="0"/>
                  </a:cubicBezTo>
                  <a:close/>
                </a:path>
              </a:pathLst>
            </a:custGeom>
            <a:solidFill>
              <a:srgbClr val="FFFB9C"/>
            </a:solid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pt-BR" dirty="0"/>
            </a:p>
          </p:txBody>
        </p:sp>
        <p:sp>
          <p:nvSpPr>
            <p:cNvPr id="74" name="Freeform 79" descr="FOTO 03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787" y="1596"/>
              <a:ext cx="1384" cy="1529"/>
            </a:xfrm>
            <a:custGeom>
              <a:avLst/>
              <a:gdLst>
                <a:gd name="T0" fmla="*/ 0 w 1541"/>
                <a:gd name="T1" fmla="*/ 246 h 1703"/>
                <a:gd name="T2" fmla="*/ 194 w 1541"/>
                <a:gd name="T3" fmla="*/ 514 h 1703"/>
                <a:gd name="T4" fmla="*/ 250 w 1541"/>
                <a:gd name="T5" fmla="*/ 449 h 1703"/>
                <a:gd name="T6" fmla="*/ 327 w 1541"/>
                <a:gd name="T7" fmla="*/ 479 h 1703"/>
                <a:gd name="T8" fmla="*/ 328 w 1541"/>
                <a:gd name="T9" fmla="*/ 563 h 1703"/>
                <a:gd name="T10" fmla="*/ 252 w 1541"/>
                <a:gd name="T11" fmla="*/ 592 h 1703"/>
                <a:gd name="T12" fmla="*/ 404 w 1541"/>
                <a:gd name="T13" fmla="*/ 801 h 1703"/>
                <a:gd name="T14" fmla="*/ 662 w 1541"/>
                <a:gd name="T15" fmla="*/ 435 h 1703"/>
                <a:gd name="T16" fmla="*/ 652 w 1541"/>
                <a:gd name="T17" fmla="*/ 35 h 1703"/>
                <a:gd name="T18" fmla="*/ 408 w 1541"/>
                <a:gd name="T19" fmla="*/ 115 h 1703"/>
                <a:gd name="T20" fmla="*/ 394 w 1541"/>
                <a:gd name="T21" fmla="*/ 28 h 1703"/>
                <a:gd name="T22" fmla="*/ 321 w 1541"/>
                <a:gd name="T23" fmla="*/ 10 h 1703"/>
                <a:gd name="T24" fmla="*/ 271 w 1541"/>
                <a:gd name="T25" fmla="*/ 67 h 1703"/>
                <a:gd name="T26" fmla="*/ 314 w 1541"/>
                <a:gd name="T27" fmla="*/ 145 h 1703"/>
                <a:gd name="T28" fmla="*/ 0 w 1541"/>
                <a:gd name="T29" fmla="*/ 246 h 170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41"/>
                <a:gd name="T46" fmla="*/ 0 h 1703"/>
                <a:gd name="T47" fmla="*/ 1541 w 1541"/>
                <a:gd name="T48" fmla="*/ 1703 h 170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41" h="1703">
                  <a:moveTo>
                    <a:pt x="0" y="524"/>
                  </a:moveTo>
                  <a:cubicBezTo>
                    <a:pt x="0" y="524"/>
                    <a:pt x="338" y="1011"/>
                    <a:pt x="412" y="1092"/>
                  </a:cubicBezTo>
                  <a:cubicBezTo>
                    <a:pt x="421" y="1002"/>
                    <a:pt x="484" y="966"/>
                    <a:pt x="531" y="954"/>
                  </a:cubicBezTo>
                  <a:cubicBezTo>
                    <a:pt x="578" y="942"/>
                    <a:pt x="654" y="958"/>
                    <a:pt x="693" y="1018"/>
                  </a:cubicBezTo>
                  <a:cubicBezTo>
                    <a:pt x="740" y="1102"/>
                    <a:pt x="720" y="1155"/>
                    <a:pt x="694" y="1195"/>
                  </a:cubicBezTo>
                  <a:cubicBezTo>
                    <a:pt x="668" y="1235"/>
                    <a:pt x="600" y="1271"/>
                    <a:pt x="534" y="1260"/>
                  </a:cubicBezTo>
                  <a:cubicBezTo>
                    <a:pt x="588" y="1333"/>
                    <a:pt x="696" y="1482"/>
                    <a:pt x="857" y="1703"/>
                  </a:cubicBezTo>
                  <a:cubicBezTo>
                    <a:pt x="1293" y="1393"/>
                    <a:pt x="1406" y="926"/>
                    <a:pt x="1406" y="926"/>
                  </a:cubicBezTo>
                  <a:cubicBezTo>
                    <a:pt x="1406" y="926"/>
                    <a:pt x="1541" y="554"/>
                    <a:pt x="1384" y="74"/>
                  </a:cubicBezTo>
                  <a:cubicBezTo>
                    <a:pt x="1384" y="74"/>
                    <a:pt x="960" y="213"/>
                    <a:pt x="864" y="244"/>
                  </a:cubicBezTo>
                  <a:cubicBezTo>
                    <a:pt x="906" y="158"/>
                    <a:pt x="866" y="89"/>
                    <a:pt x="837" y="59"/>
                  </a:cubicBezTo>
                  <a:cubicBezTo>
                    <a:pt x="805" y="22"/>
                    <a:pt x="738" y="0"/>
                    <a:pt x="679" y="20"/>
                  </a:cubicBezTo>
                  <a:cubicBezTo>
                    <a:pt x="617" y="48"/>
                    <a:pt x="592" y="76"/>
                    <a:pt x="573" y="145"/>
                  </a:cubicBezTo>
                  <a:cubicBezTo>
                    <a:pt x="568" y="197"/>
                    <a:pt x="583" y="276"/>
                    <a:pt x="667" y="307"/>
                  </a:cubicBezTo>
                  <a:cubicBezTo>
                    <a:pt x="335" y="416"/>
                    <a:pt x="0" y="524"/>
                    <a:pt x="0" y="524"/>
                  </a:cubicBezTo>
                  <a:close/>
                </a:path>
              </a:pathLst>
            </a:custGeom>
            <a:blipFill dpi="0" rotWithShape="1">
              <a:blip r:embed="rId40"/>
              <a:srcRect/>
              <a:stretch>
                <a:fillRect/>
              </a:stretch>
            </a:blip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 dirty="0"/>
            </a:p>
          </p:txBody>
        </p:sp>
        <p:sp>
          <p:nvSpPr>
            <p:cNvPr id="75" name="Freeform 80" descr="FOTO 0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543" y="759"/>
              <a:ext cx="1487" cy="1307"/>
            </a:xfrm>
            <a:custGeom>
              <a:avLst/>
              <a:gdLst>
                <a:gd name="T0" fmla="*/ 127 w 1656"/>
                <a:gd name="T1" fmla="*/ 683 h 1456"/>
                <a:gd name="T2" fmla="*/ 442 w 1656"/>
                <a:gd name="T3" fmla="*/ 583 h 1456"/>
                <a:gd name="T4" fmla="*/ 398 w 1656"/>
                <a:gd name="T5" fmla="*/ 509 h 1456"/>
                <a:gd name="T6" fmla="*/ 449 w 1656"/>
                <a:gd name="T7" fmla="*/ 447 h 1456"/>
                <a:gd name="T8" fmla="*/ 527 w 1656"/>
                <a:gd name="T9" fmla="*/ 472 h 1456"/>
                <a:gd name="T10" fmla="*/ 534 w 1656"/>
                <a:gd name="T11" fmla="*/ 553 h 1456"/>
                <a:gd name="T12" fmla="*/ 779 w 1656"/>
                <a:gd name="T13" fmla="*/ 473 h 1456"/>
                <a:gd name="T14" fmla="*/ 512 w 1656"/>
                <a:gd name="T15" fmla="*/ 114 h 1456"/>
                <a:gd name="T16" fmla="*/ 127 w 1656"/>
                <a:gd name="T17" fmla="*/ 1 h 1456"/>
                <a:gd name="T18" fmla="*/ 128 w 1656"/>
                <a:gd name="T19" fmla="*/ 258 h 1456"/>
                <a:gd name="T20" fmla="*/ 41 w 1656"/>
                <a:gd name="T21" fmla="*/ 243 h 1456"/>
                <a:gd name="T22" fmla="*/ 1 w 1656"/>
                <a:gd name="T23" fmla="*/ 308 h 1456"/>
                <a:gd name="T24" fmla="*/ 41 w 1656"/>
                <a:gd name="T25" fmla="*/ 373 h 1456"/>
                <a:gd name="T26" fmla="*/ 127 w 1656"/>
                <a:gd name="T27" fmla="*/ 355 h 1456"/>
                <a:gd name="T28" fmla="*/ 127 w 1656"/>
                <a:gd name="T29" fmla="*/ 683 h 14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56"/>
                <a:gd name="T46" fmla="*/ 0 h 1456"/>
                <a:gd name="T47" fmla="*/ 1656 w 1656"/>
                <a:gd name="T48" fmla="*/ 1456 h 14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56" h="1456">
                  <a:moveTo>
                    <a:pt x="270" y="1456"/>
                  </a:moveTo>
                  <a:cubicBezTo>
                    <a:pt x="270" y="1456"/>
                    <a:pt x="838" y="1285"/>
                    <a:pt x="938" y="1240"/>
                  </a:cubicBezTo>
                  <a:cubicBezTo>
                    <a:pt x="855" y="1204"/>
                    <a:pt x="840" y="1133"/>
                    <a:pt x="843" y="1084"/>
                  </a:cubicBezTo>
                  <a:cubicBezTo>
                    <a:pt x="846" y="1036"/>
                    <a:pt x="908" y="963"/>
                    <a:pt x="954" y="950"/>
                  </a:cubicBezTo>
                  <a:cubicBezTo>
                    <a:pt x="1049" y="931"/>
                    <a:pt x="1090" y="967"/>
                    <a:pt x="1120" y="1005"/>
                  </a:cubicBezTo>
                  <a:cubicBezTo>
                    <a:pt x="1150" y="1043"/>
                    <a:pt x="1171" y="1103"/>
                    <a:pt x="1135" y="1176"/>
                  </a:cubicBezTo>
                  <a:cubicBezTo>
                    <a:pt x="1221" y="1147"/>
                    <a:pt x="1396" y="1091"/>
                    <a:pt x="1656" y="1006"/>
                  </a:cubicBezTo>
                  <a:cubicBezTo>
                    <a:pt x="1496" y="495"/>
                    <a:pt x="1087" y="243"/>
                    <a:pt x="1087" y="243"/>
                  </a:cubicBezTo>
                  <a:cubicBezTo>
                    <a:pt x="1087" y="243"/>
                    <a:pt x="775" y="0"/>
                    <a:pt x="270" y="1"/>
                  </a:cubicBezTo>
                  <a:cubicBezTo>
                    <a:pt x="270" y="1"/>
                    <a:pt x="271" y="447"/>
                    <a:pt x="271" y="548"/>
                  </a:cubicBezTo>
                  <a:cubicBezTo>
                    <a:pt x="202" y="482"/>
                    <a:pt x="124" y="498"/>
                    <a:pt x="87" y="517"/>
                  </a:cubicBezTo>
                  <a:cubicBezTo>
                    <a:pt x="42" y="536"/>
                    <a:pt x="0" y="593"/>
                    <a:pt x="1" y="655"/>
                  </a:cubicBezTo>
                  <a:cubicBezTo>
                    <a:pt x="8" y="723"/>
                    <a:pt x="27" y="755"/>
                    <a:pt x="87" y="794"/>
                  </a:cubicBezTo>
                  <a:cubicBezTo>
                    <a:pt x="135" y="815"/>
                    <a:pt x="215" y="825"/>
                    <a:pt x="270" y="755"/>
                  </a:cubicBezTo>
                  <a:cubicBezTo>
                    <a:pt x="271" y="1104"/>
                    <a:pt x="270" y="1456"/>
                    <a:pt x="270" y="1456"/>
                  </a:cubicBezTo>
                  <a:close/>
                </a:path>
              </a:pathLst>
            </a:custGeom>
            <a:blipFill dpi="0" rotWithShape="1">
              <a:blip r:embed="rId41"/>
              <a:srcRect/>
              <a:stretch>
                <a:fillRect/>
              </a:stretch>
            </a:blipFill>
            <a:ln w="28575">
              <a:solidFill>
                <a:srgbClr val="80808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pt-BR" dirty="0"/>
            </a:p>
          </p:txBody>
        </p:sp>
        <p:grpSp>
          <p:nvGrpSpPr>
            <p:cNvPr id="76" name="Group 81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1923" y="921"/>
              <a:ext cx="194" cy="190"/>
              <a:chOff x="1220" y="968"/>
              <a:chExt cx="205" cy="201"/>
            </a:xfrm>
          </p:grpSpPr>
          <p:grpSp>
            <p:nvGrpSpPr>
              <p:cNvPr id="106" name="Group 82"/>
              <p:cNvGrpSpPr>
                <a:grpSpLocks/>
              </p:cNvGrpSpPr>
              <p:nvPr>
                <p:custDataLst>
                  <p:tags r:id="rId29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08" name="Oval 83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09" name="Oval 84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10" name="Oval 85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11" name="Oval 86"/>
                <p:cNvSpPr>
                  <a:spLocks noChangeArrowheads="1"/>
                </p:cNvSpPr>
                <p:nvPr/>
              </p:nvSpPr>
              <p:spPr bwMode="gray">
                <a:xfrm>
                  <a:off x="69" y="1359"/>
                  <a:ext cx="658" cy="58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07" name="Rectangle 87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 flipH="1">
                <a:off x="1291" y="998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grpSp>
          <p:nvGrpSpPr>
            <p:cNvPr id="77" name="Group 88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3457" y="921"/>
              <a:ext cx="194" cy="190"/>
              <a:chOff x="1220" y="968"/>
              <a:chExt cx="205" cy="201"/>
            </a:xfrm>
          </p:grpSpPr>
          <p:grpSp>
            <p:nvGrpSpPr>
              <p:cNvPr id="100" name="Group 89"/>
              <p:cNvGrpSpPr>
                <a:grpSpLocks/>
              </p:cNvGrpSpPr>
              <p:nvPr>
                <p:custDataLst>
                  <p:tags r:id="rId27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102" name="Oval 90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03" name="Oval 91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04" name="Oval 92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105" name="Oval 93"/>
                <p:cNvSpPr>
                  <a:spLocks noChangeArrowheads="1"/>
                </p:cNvSpPr>
                <p:nvPr/>
              </p:nvSpPr>
              <p:spPr bwMode="gray">
                <a:xfrm>
                  <a:off x="66" y="1359"/>
                  <a:ext cx="666" cy="58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101" name="Rectangle 94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 flipH="1">
                <a:off x="1291" y="998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78" name="Group 95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1431" y="2359"/>
              <a:ext cx="194" cy="190"/>
              <a:chOff x="1220" y="968"/>
              <a:chExt cx="205" cy="201"/>
            </a:xfrm>
          </p:grpSpPr>
          <p:grpSp>
            <p:nvGrpSpPr>
              <p:cNvPr id="94" name="Group 96"/>
              <p:cNvGrpSpPr>
                <a:grpSpLocks/>
              </p:cNvGrpSpPr>
              <p:nvPr>
                <p:custDataLst>
                  <p:tags r:id="rId25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96" name="Oval 97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97" name="Oval 98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98" name="Oval 99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99" name="Oval 100"/>
                <p:cNvSpPr>
                  <a:spLocks noChangeArrowheads="1"/>
                </p:cNvSpPr>
                <p:nvPr/>
              </p:nvSpPr>
              <p:spPr bwMode="gray">
                <a:xfrm>
                  <a:off x="67" y="1361"/>
                  <a:ext cx="658" cy="58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95" name="Rectangle 101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 flipH="1">
                <a:off x="1291" y="998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grpSp>
          <p:nvGrpSpPr>
            <p:cNvPr id="79" name="Group 102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3944" y="2359"/>
              <a:ext cx="194" cy="190"/>
              <a:chOff x="1220" y="968"/>
              <a:chExt cx="205" cy="201"/>
            </a:xfrm>
          </p:grpSpPr>
          <p:grpSp>
            <p:nvGrpSpPr>
              <p:cNvPr id="88" name="Group 103"/>
              <p:cNvGrpSpPr>
                <a:grpSpLocks/>
              </p:cNvGrpSpPr>
              <p:nvPr>
                <p:custDataLst>
                  <p:tags r:id="rId23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90" name="Oval 104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91" name="Oval 105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92" name="Oval 106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93" name="Oval 107"/>
                <p:cNvSpPr>
                  <a:spLocks noChangeArrowheads="1"/>
                </p:cNvSpPr>
                <p:nvPr/>
              </p:nvSpPr>
              <p:spPr bwMode="gray">
                <a:xfrm>
                  <a:off x="65" y="1361"/>
                  <a:ext cx="666" cy="580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89" name="Rectangle 108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 flipH="1">
                <a:off x="1291" y="998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grpSp>
          <p:nvGrpSpPr>
            <p:cNvPr id="80" name="Group 109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2689" y="3275"/>
              <a:ext cx="194" cy="191"/>
              <a:chOff x="1220" y="968"/>
              <a:chExt cx="205" cy="201"/>
            </a:xfrm>
          </p:grpSpPr>
          <p:grpSp>
            <p:nvGrpSpPr>
              <p:cNvPr id="82" name="Group 110"/>
              <p:cNvGrpSpPr>
                <a:grpSpLocks/>
              </p:cNvGrpSpPr>
              <p:nvPr>
                <p:custDataLst>
                  <p:tags r:id="rId21"/>
                </p:custDataLst>
              </p:nvPr>
            </p:nvGrpSpPr>
            <p:grpSpPr bwMode="auto">
              <a:xfrm>
                <a:off x="1220" y="968"/>
                <a:ext cx="205" cy="201"/>
                <a:chOff x="-4" y="1328"/>
                <a:chExt cx="802" cy="785"/>
              </a:xfrm>
            </p:grpSpPr>
            <p:sp>
              <p:nvSpPr>
                <p:cNvPr id="84" name="Oval 111"/>
                <p:cNvSpPr>
                  <a:spLocks noChangeArrowheads="1"/>
                </p:cNvSpPr>
                <p:nvPr/>
              </p:nvSpPr>
              <p:spPr bwMode="gray">
                <a:xfrm>
                  <a:off x="-4" y="1328"/>
                  <a:ext cx="802" cy="785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2F5E"/>
                    </a:gs>
                    <a:gs pos="100000">
                      <a:srgbClr val="0065CC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85" name="Oval 112"/>
                <p:cNvSpPr>
                  <a:spLocks noChangeArrowheads="1"/>
                </p:cNvSpPr>
                <p:nvPr/>
              </p:nvSpPr>
              <p:spPr bwMode="gray">
                <a:xfrm>
                  <a:off x="6" y="1337"/>
                  <a:ext cx="782" cy="76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65CC">
                        <a:alpha val="0"/>
                      </a:srgbClr>
                    </a:gs>
                    <a:gs pos="100000">
                      <a:srgbClr val="408CD9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86" name="Oval 113"/>
                <p:cNvSpPr>
                  <a:spLocks noChangeArrowheads="1"/>
                </p:cNvSpPr>
                <p:nvPr/>
              </p:nvSpPr>
              <p:spPr bwMode="gray">
                <a:xfrm>
                  <a:off x="26" y="1340"/>
                  <a:ext cx="743" cy="71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0050A2"/>
                    </a:gs>
                    <a:gs pos="100000">
                      <a:srgbClr val="0065CC">
                        <a:alpha val="60001"/>
                      </a:srgb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</p:spPr>
              <p:txBody>
                <a:bodyPr vert="eaVert" wrap="none" anchor="ctr"/>
                <a:lstStyle/>
                <a:p>
                  <a:endParaRPr lang="pt-BR" dirty="0"/>
                </a:p>
              </p:txBody>
            </p:sp>
            <p:sp>
              <p:nvSpPr>
                <p:cNvPr id="87" name="Oval 114"/>
                <p:cNvSpPr>
                  <a:spLocks noChangeArrowheads="1"/>
                </p:cNvSpPr>
                <p:nvPr/>
              </p:nvSpPr>
              <p:spPr bwMode="gray">
                <a:xfrm>
                  <a:off x="68" y="1360"/>
                  <a:ext cx="658" cy="585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  <a:alpha val="70000"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vert="eaVert" wrap="none" anchor="ctr"/>
                <a:lstStyle/>
                <a:p>
                  <a:pPr>
                    <a:defRPr/>
                  </a:pPr>
                  <a:endParaRPr lang="pt-BR" dirty="0">
                    <a:cs typeface="+mn-cs"/>
                  </a:endParaRPr>
                </a:p>
              </p:txBody>
            </p:sp>
          </p:grpSp>
          <p:sp>
            <p:nvSpPr>
              <p:cNvPr id="83" name="Rectangle 115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 flipH="1">
                <a:off x="1291" y="999"/>
                <a:ext cx="65" cy="1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pt-BR" sz="14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pic>
          <p:nvPicPr>
            <p:cNvPr id="81" name="Picture 116" descr="MC900434822[1]"/>
            <p:cNvPicPr>
              <a:picLocks noChangeAspect="1" noChangeArrowheads="1"/>
            </p:cNvPicPr>
            <p:nvPr>
              <p:custDataLst>
                <p:tags r:id="rId20"/>
              </p:custDataLst>
            </p:nvPr>
          </p:nvPicPr>
          <p:blipFill>
            <a:blip r:embed="rId4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358" y="2584"/>
              <a:ext cx="849" cy="6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2" name="Retângulo 161"/>
          <p:cNvSpPr/>
          <p:nvPr/>
        </p:nvSpPr>
        <p:spPr>
          <a:xfrm>
            <a:off x="5929323" y="601601"/>
            <a:ext cx="2714644" cy="200595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63" name="Retângulo 162"/>
          <p:cNvSpPr/>
          <p:nvPr/>
        </p:nvSpPr>
        <p:spPr>
          <a:xfrm>
            <a:off x="880273" y="3466033"/>
            <a:ext cx="2490844" cy="2274121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3" name="Rectangle 6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929130" y="3512333"/>
            <a:ext cx="4813606" cy="2154436"/>
          </a:xfrm>
          <a:prstGeom prst="rect">
            <a:avLst/>
          </a:prstGeom>
          <a:solidFill>
            <a:srgbClr val="BDEDE3"/>
          </a:solidFill>
          <a:ln w="57150">
            <a:solidFill>
              <a:srgbClr val="C00000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5350">
              <a:spcBef>
                <a:spcPts val="600"/>
              </a:spcBef>
              <a:buClr>
                <a:schemeClr val="tx2"/>
              </a:buClr>
            </a:pPr>
            <a:r>
              <a:rPr lang="pt-BR" sz="28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Mobilizar, Engajar e Responsabilizar </a:t>
            </a:r>
            <a:r>
              <a:rPr lang="pt-BR" sz="2800" b="1" dirty="0">
                <a:latin typeface="Tahoma" pitchFamily="34" charset="0"/>
                <a:cs typeface="Tahoma" pitchFamily="34" charset="0"/>
              </a:rPr>
              <a:t>a Rede, </a:t>
            </a:r>
            <a:br>
              <a:rPr lang="pt-BR" sz="2800" b="1" dirty="0">
                <a:latin typeface="Tahoma" pitchFamily="34" charset="0"/>
                <a:cs typeface="Tahoma" pitchFamily="34" charset="0"/>
              </a:rPr>
            </a:br>
            <a:r>
              <a:rPr lang="pt-BR" sz="2800" b="1" dirty="0">
                <a:latin typeface="Tahoma" pitchFamily="34" charset="0"/>
                <a:cs typeface="Tahoma" pitchFamily="34" charset="0"/>
              </a:rPr>
              <a:t>os Alunos e a Sociedade em torno do processo </a:t>
            </a:r>
            <a:br>
              <a:rPr lang="pt-BR" sz="2800" b="1" dirty="0">
                <a:latin typeface="Tahoma" pitchFamily="34" charset="0"/>
                <a:cs typeface="Tahoma" pitchFamily="34" charset="0"/>
              </a:rPr>
            </a:br>
            <a:r>
              <a:rPr lang="pt-BR" sz="2800" b="1" dirty="0">
                <a:latin typeface="Tahoma" pitchFamily="34" charset="0"/>
                <a:cs typeface="Tahoma" pitchFamily="34" charset="0"/>
              </a:rPr>
              <a:t>de </a:t>
            </a:r>
            <a:r>
              <a:rPr lang="pt-BR" sz="28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ensino-aprendizagem</a:t>
            </a:r>
            <a:r>
              <a:rPr lang="pt-BR" sz="2800" b="1" dirty="0">
                <a:solidFill>
                  <a:srgbClr val="FF6600"/>
                </a:solidFill>
                <a:latin typeface="Tahoma" pitchFamily="34" charset="0"/>
                <a:cs typeface="Tahoma" pitchFamily="34" charset="0"/>
              </a:rPr>
              <a:t> </a:t>
            </a:r>
          </a:p>
        </p:txBody>
      </p:sp>
      <p:sp>
        <p:nvSpPr>
          <p:cNvPr id="119" name="Rectangle 6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H="1">
            <a:off x="3713024" y="638083"/>
            <a:ext cx="4814828" cy="1969474"/>
          </a:xfrm>
          <a:prstGeom prst="rect">
            <a:avLst/>
          </a:prstGeom>
          <a:solidFill>
            <a:srgbClr val="BDEDE3"/>
          </a:solidFill>
          <a:ln w="57150">
            <a:solidFill>
              <a:srgbClr val="C00000"/>
            </a:solidFill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spcBef>
                <a:spcPts val="600"/>
              </a:spcBef>
              <a:buClr>
                <a:schemeClr val="tx2"/>
              </a:buClr>
            </a:pPr>
            <a:r>
              <a:rPr lang="pt-BR" sz="3200" b="1" dirty="0">
                <a:latin typeface="Tahoma" pitchFamily="34" charset="0"/>
                <a:cs typeface="Tahoma" pitchFamily="34" charset="0"/>
              </a:rPr>
              <a:t>Aprimorar as ações e a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gestão pedagógica da </a:t>
            </a:r>
            <a:r>
              <a:rPr lang="pt-BR" sz="3200" b="1" dirty="0">
                <a:latin typeface="Tahoma" pitchFamily="34" charset="0"/>
                <a:cs typeface="Tahoma" pitchFamily="34" charset="0"/>
              </a:rPr>
              <a:t>Rede com </a:t>
            </a:r>
            <a:r>
              <a:rPr lang="pt-BR" sz="32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foco no resultado dos aluno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2" grpId="0" animBg="1"/>
      <p:bldP spid="163" grpId="0" animBg="1"/>
      <p:bldP spid="143" grpId="0" animBg="1"/>
      <p:bldP spid="1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939006" y="2017288"/>
            <a:ext cx="7730432" cy="2601028"/>
          </a:xfrm>
        </p:spPr>
        <p:txBody>
          <a:bodyPr/>
          <a:lstStyle/>
          <a:p>
            <a:pPr eaLnBrk="1" hangingPunct="1">
              <a:spcBef>
                <a:spcPts val="600"/>
              </a:spcBef>
            </a:pPr>
            <a: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. Aprimorar as ações </a:t>
            </a:r>
            <a:b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 a gestão pedagógica </a:t>
            </a:r>
            <a:b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a Rede com foco </a:t>
            </a:r>
            <a:b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pt-BR" sz="4000" b="1" kern="1200" dirty="0" smtClean="0">
                <a:solidFill>
                  <a:srgbClr val="0070C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o resultado dos alunos</a:t>
            </a:r>
          </a:p>
        </p:txBody>
      </p:sp>
      <p:sp>
        <p:nvSpPr>
          <p:cNvPr id="74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>
              <a:defRPr/>
            </a:pPr>
            <a:fld id="{3CD772BB-B4EC-45BD-B28A-3ACD87842C1B}" type="slidenum">
              <a:rPr lang="pt-BR"/>
              <a:pPr algn="l">
                <a:defRPr/>
              </a:pPr>
              <a:t>9</a:t>
            </a:fld>
            <a:r>
              <a:rPr lang="pt-BR" dirty="0"/>
              <a:t> </a:t>
            </a:r>
          </a:p>
        </p:txBody>
      </p:sp>
      <p:graphicFrame>
        <p:nvGraphicFramePr>
          <p:cNvPr id="3074" name="AutoShape 6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3080" name="think-cell Slide" r:id="rId5" imgW="0" imgH="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Tqu9P4UUyjyz.P3YrnB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Jm87fMdUCfYSk4YK8cU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e1tAmoJZEkynSrVidOVNE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e1tAmoJZEkynSrVidOVNE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BoaqI540ek45PcZ03mG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e1tAmoJZEkynSrVidOVNE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Sd8WgSlEWL6ZqlARa0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sWx_idfke0v_Gt46dq2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e1tAmoJZEkynSrVidOVNE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g4jtM1d.B0emsJHb63nT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E3bxpLk.M0qC3gPgCz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g4jtM1d.B0emsJHb63nTX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RfRA0s0kKPn2.9RWFgq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tFSHbdUkKwtGHXazJY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E3bxpLk.M0qC3gPgC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Jm87fMdUCfYSk4YK8cU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Tqu9P4UUyjyz.P3Yrn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Sd8WgSlEWL6ZqlARa0z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Sd8WgSlEWL6ZqlARa0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tFSHbdUkKwtGHXazJY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E3bxpLk.M0qC3gPgC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sWx_idfke0v_Gt46dq2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Jm87fMdUCfYSk4YK8cU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sWx_idfke0v_Gt46dq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BoaqI540ek45PcZ03m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Jm87fMdUCfYSk4YK8cU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E3bxpLk.M0qC3gPgC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RfRA0s0kKPn2.9RWFgq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o1yXLjk2yVic6OJCVQ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cbyzvr3kGvNnwm9QsUV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rmu4.j0EqYLrmG5TlkT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etuSv2v0GVHXfsbvto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BoaqI540ek45PcZ03mG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y2L.4qPEidB.vfuaRU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BCPWAmgky_h2NQjC1Wi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tFSHbdUkKwtGHXazJY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5eTdIySEusbuFlkb3qf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bbk_TSdUWaP75OQKf4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p3euncv0i.bmwkCXtpZ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6LGXtXkSID1D60E_L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1ptfFpPUGOJHH21Bg.0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ow0m4rqU.9POICVBbD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e1tAmoJZEkynSrVidOVNE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nOqIxnU2.hKKWmasOt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UdIRhRoUGn_uiCACjxj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Hs.TYDtUql83LmNpTng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dp_hwPkuZwLnD7eGC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ZYCMR602v_eGrZrGIe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m3FBXee0.i9Oi7JMy_Jw"/>
</p:tagLst>
</file>

<file path=ppt/theme/theme1.xml><?xml version="1.0" encoding="utf-8"?>
<a:theme xmlns:a="http://schemas.openxmlformats.org/drawingml/2006/main" name="Tema1">
  <a:themeElements>
    <a:clrScheme name="Design padrão 4">
      <a:dk1>
        <a:srgbClr val="000000"/>
      </a:dk1>
      <a:lt1>
        <a:srgbClr val="DEF6F1"/>
      </a:lt1>
      <a:dk2>
        <a:srgbClr val="000000"/>
      </a:dk2>
      <a:lt2>
        <a:srgbClr val="969696"/>
      </a:lt2>
      <a:accent1>
        <a:srgbClr val="FFFFFF"/>
      </a:accent1>
      <a:accent2>
        <a:srgbClr val="8DC6FF"/>
      </a:accent2>
      <a:accent3>
        <a:srgbClr val="ECFAF7"/>
      </a:accent3>
      <a:accent4>
        <a:srgbClr val="000000"/>
      </a:accent4>
      <a:accent5>
        <a:srgbClr val="FFFFFF"/>
      </a:accent5>
      <a:accent6>
        <a:srgbClr val="7FB3E7"/>
      </a:accent6>
      <a:hlink>
        <a:srgbClr val="0066CC"/>
      </a:hlink>
      <a:folHlink>
        <a:srgbClr val="00A8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1</Template>
  <TotalTime>393</TotalTime>
  <Words>722</Words>
  <Application>Microsoft Office PowerPoint</Application>
  <PresentationFormat>Apresentação na tela (4:3)</PresentationFormat>
  <Paragraphs>137</Paragraphs>
  <Slides>25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5</vt:i4>
      </vt:variant>
    </vt:vector>
  </HeadingPairs>
  <TitlesOfParts>
    <vt:vector size="27" baseType="lpstr">
      <vt:lpstr>Tema1</vt:lpstr>
      <vt:lpstr>think-cell Slide</vt:lpstr>
      <vt:lpstr>Slide 1</vt:lpstr>
      <vt:lpstr>Curso de Gestão para Supervisores e Dirigentes da Rede Pública Estadual Paulista</vt:lpstr>
      <vt:lpstr>Encontros Presenciais</vt:lpstr>
      <vt:lpstr>Lembrando que o Programa está baseado em cinco pilares:</vt:lpstr>
      <vt:lpstr>Slide 5</vt:lpstr>
      <vt:lpstr>Encontros Presenciais</vt:lpstr>
      <vt:lpstr>Dois Pilares a serem trabalhados nos Encontros Presenciais:</vt:lpstr>
      <vt:lpstr>Slide 8</vt:lpstr>
      <vt:lpstr>2. Aprimorar as ações  e a gestão pedagógica  da Rede com foco  no resultado dos alunos</vt:lpstr>
      <vt:lpstr>Slide 10</vt:lpstr>
      <vt:lpstr>Slide 11</vt:lpstr>
      <vt:lpstr>Slide 12</vt:lpstr>
      <vt:lpstr>Slide 13</vt:lpstr>
      <vt:lpstr>Slide 14</vt:lpstr>
      <vt:lpstr>5. Mobilizar, Engajar e Responsabilizar a Rede, os Alunos e a Sociedade em torno do processo de ensino-aprendizagem </vt:lpstr>
      <vt:lpstr>Slide 16</vt:lpstr>
      <vt:lpstr>Slide 17</vt:lpstr>
      <vt:lpstr>Encontro Presencial II</vt:lpstr>
      <vt:lpstr>Slide 19</vt:lpstr>
      <vt:lpstr>Operacionalização EPII</vt:lpstr>
      <vt:lpstr>Slide 21</vt:lpstr>
      <vt:lpstr>Slide 22</vt:lpstr>
      <vt:lpstr>Slide 23</vt:lpstr>
      <vt:lpstr>Encontro Presencial II</vt:lpstr>
      <vt:lpstr>Slide 2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so de Gestão para Supervisores e Dirigentes da Rede Pública Estadual Paulista</dc:title>
  <dc:creator>Lara Liboni</dc:creator>
  <cp:lastModifiedBy>Carolina</cp:lastModifiedBy>
  <cp:revision>53</cp:revision>
  <dcterms:created xsi:type="dcterms:W3CDTF">2012-01-09T00:52:07Z</dcterms:created>
  <dcterms:modified xsi:type="dcterms:W3CDTF">2012-03-27T13:29:53Z</dcterms:modified>
</cp:coreProperties>
</file>